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ppt/tags/tag3.xml" ContentType="application/vnd.openxmlformats-officedocument.presentationml.tags+xml"/>
  <Override PartName="/ppt/notesSlides/notesSlide14.xml" ContentType="application/vnd.openxmlformats-officedocument.presentationml.notesSlide+xml"/>
  <Override PartName="/ppt/tags/tag4.xml" ContentType="application/vnd.openxmlformats-officedocument.presentationml.tags+xml"/>
  <Override PartName="/ppt/notesSlides/notesSlide15.xml" ContentType="application/vnd.openxmlformats-officedocument.presentationml.notesSlide+xml"/>
  <Override PartName="/ppt/tags/tag5.xml" ContentType="application/vnd.openxmlformats-officedocument.presentationml.tags+xml"/>
  <Override PartName="/ppt/notesSlides/notesSlide16.xml" ContentType="application/vnd.openxmlformats-officedocument.presentationml.notesSlide+xml"/>
  <Override PartName="/ppt/tags/tag6.xml" ContentType="application/vnd.openxmlformats-officedocument.presentationml.tags+xml"/>
  <Override PartName="/ppt/notesSlides/notesSlide17.xml" ContentType="application/vnd.openxmlformats-officedocument.presentationml.notesSlide+xml"/>
  <Override PartName="/ppt/tags/tag7.xml" ContentType="application/vnd.openxmlformats-officedocument.presentationml.tags+xml"/>
  <Override PartName="/ppt/notesSlides/notesSlide18.xml" ContentType="application/vnd.openxmlformats-officedocument.presentationml.notesSlide+xml"/>
  <Override PartName="/ppt/tags/tag8.xml" ContentType="application/vnd.openxmlformats-officedocument.presentationml.tags+xml"/>
  <Override PartName="/ppt/notesSlides/notesSlide19.xml" ContentType="application/vnd.openxmlformats-officedocument.presentationml.notesSlide+xml"/>
  <Override PartName="/ppt/tags/tag9.xml" ContentType="application/vnd.openxmlformats-officedocument.presentationml.tags+xml"/>
  <Override PartName="/ppt/notesSlides/notesSlide20.xml" ContentType="application/vnd.openxmlformats-officedocument.presentationml.notesSlide+xml"/>
  <Override PartName="/ppt/tags/tag10.xml" ContentType="application/vnd.openxmlformats-officedocument.presentationml.tags+xml"/>
  <Override PartName="/ppt/notesSlides/notesSlide21.xml" ContentType="application/vnd.openxmlformats-officedocument.presentationml.notesSlide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tags/tag12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6"/>
  </p:notesMasterIdLst>
  <p:sldIdLst>
    <p:sldId id="259" r:id="rId2"/>
    <p:sldId id="296" r:id="rId3"/>
    <p:sldId id="300" r:id="rId4"/>
    <p:sldId id="298" r:id="rId5"/>
    <p:sldId id="366" r:id="rId6"/>
    <p:sldId id="363" r:id="rId7"/>
    <p:sldId id="365" r:id="rId8"/>
    <p:sldId id="367" r:id="rId9"/>
    <p:sldId id="362" r:id="rId10"/>
    <p:sldId id="369" r:id="rId11"/>
    <p:sldId id="370" r:id="rId12"/>
    <p:sldId id="371" r:id="rId13"/>
    <p:sldId id="368" r:id="rId14"/>
    <p:sldId id="302" r:id="rId15"/>
    <p:sldId id="372" r:id="rId16"/>
    <p:sldId id="373" r:id="rId17"/>
    <p:sldId id="374" r:id="rId18"/>
    <p:sldId id="377" r:id="rId19"/>
    <p:sldId id="299" r:id="rId20"/>
    <p:sldId id="348" r:id="rId21"/>
    <p:sldId id="349" r:id="rId22"/>
    <p:sldId id="352" r:id="rId23"/>
    <p:sldId id="353" r:id="rId24"/>
    <p:sldId id="354" r:id="rId25"/>
    <p:sldId id="350" r:id="rId26"/>
    <p:sldId id="355" r:id="rId27"/>
    <p:sldId id="356" r:id="rId28"/>
    <p:sldId id="357" r:id="rId29"/>
    <p:sldId id="358" r:id="rId30"/>
    <p:sldId id="359" r:id="rId31"/>
    <p:sldId id="376" r:id="rId32"/>
    <p:sldId id="323" r:id="rId33"/>
    <p:sldId id="344" r:id="rId34"/>
    <p:sldId id="295" r:id="rId35"/>
  </p:sldIdLst>
  <p:sldSz cx="10160000" cy="5715000"/>
  <p:notesSz cx="7010400" cy="9296400"/>
  <p:defaultTextStyle>
    <a:defPPr lvl="0">
      <a:defRPr lang="en-US"/>
    </a:defPPr>
    <a:lvl1pPr marL="0" lv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lvl="1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lvl="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lvl="3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lvl="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lvl="5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lvl="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lvl="7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lvl="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hn Dillard" initials="JD" lastIdx="2" clrIdx="0"/>
  <p:cmAuthor id="2" name="Chris Fadule" initials="CF" lastIdx="13" clrIdx="1">
    <p:extLst>
      <p:ext uri="{19B8F6BF-5375-455C-9EA6-DF929625EA0E}">
        <p15:presenceInfo xmlns:p15="http://schemas.microsoft.com/office/powerpoint/2012/main" userId="96f9a471d188030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A5AE"/>
    <a:srgbClr val="000000"/>
    <a:srgbClr val="61665B"/>
    <a:srgbClr val="F8A560"/>
    <a:srgbClr val="5C8C91"/>
    <a:srgbClr val="FFFFFF"/>
    <a:srgbClr val="E77D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958" autoAdjust="0"/>
    <p:restoredTop sz="80031" autoAdjust="0"/>
  </p:normalViewPr>
  <p:slideViewPr>
    <p:cSldViewPr snapToGrid="0">
      <p:cViewPr varScale="1">
        <p:scale>
          <a:sx n="63" d="100"/>
          <a:sy n="63" d="100"/>
        </p:scale>
        <p:origin x="1517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30FDA7-67FF-4D87-A189-472986513068}" type="doc">
      <dgm:prSet loTypeId="urn:microsoft.com/office/officeart/2016/7/layout/LinearBlockProcessNumbered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1A445D0-CF6E-463D-A3F2-075BAD39574D}">
      <dgm:prSet phldrT="[Text]"/>
      <dgm:spPr/>
      <dgm:t>
        <a:bodyPr/>
        <a:lstStyle/>
        <a:p>
          <a:r>
            <a:rPr lang="en-US" dirty="0">
              <a:latin typeface="Futura Std Book"/>
            </a:rPr>
            <a:t>The ingredients of a </a:t>
          </a:r>
          <a:r>
            <a:rPr lang="en-US" b="1" dirty="0">
              <a:latin typeface="Futura Std Book"/>
            </a:rPr>
            <a:t>reporting engine </a:t>
          </a:r>
          <a:r>
            <a:rPr lang="en-US" dirty="0">
              <a:latin typeface="Futura Std Book"/>
            </a:rPr>
            <a:t>that will make our lives easier</a:t>
          </a:r>
        </a:p>
      </dgm:t>
    </dgm:pt>
    <dgm:pt modelId="{3BD59B9A-DE45-4042-A897-E1F871BA7600}" type="parTrans" cxnId="{9A440376-6D68-4761-B7B5-023A59A9CE44}">
      <dgm:prSet/>
      <dgm:spPr/>
      <dgm:t>
        <a:bodyPr/>
        <a:lstStyle/>
        <a:p>
          <a:endParaRPr lang="en-US"/>
        </a:p>
      </dgm:t>
    </dgm:pt>
    <dgm:pt modelId="{8B4B3B8E-7627-46E4-8A23-64C907CC83B5}" type="sibTrans" cxnId="{9A440376-6D68-4761-B7B5-023A59A9CE44}">
      <dgm:prSet phldrT="01"/>
      <dgm:spPr/>
      <dgm:t>
        <a:bodyPr/>
        <a:lstStyle/>
        <a:p>
          <a:r>
            <a:rPr lang="en-US" dirty="0">
              <a:latin typeface="Futura Std Book"/>
            </a:rPr>
            <a:t>02</a:t>
          </a:r>
        </a:p>
      </dgm:t>
    </dgm:pt>
    <dgm:pt modelId="{9883134B-7223-41B8-B468-36A647DFF46E}">
      <dgm:prSet phldrT="[Text]"/>
      <dgm:spPr/>
      <dgm:t>
        <a:bodyPr/>
        <a:lstStyle/>
        <a:p>
          <a:r>
            <a:rPr lang="en-US" dirty="0">
              <a:latin typeface="Futura Std Book"/>
              <a:cs typeface="Arial" panose="020B0604020202020204" pitchFamily="34" charset="0"/>
            </a:rPr>
            <a:t>The </a:t>
          </a:r>
          <a:r>
            <a:rPr lang="en-US" b="1" dirty="0">
              <a:latin typeface="Futura Std Book"/>
              <a:cs typeface="Arial" panose="020B0604020202020204" pitchFamily="34" charset="0"/>
            </a:rPr>
            <a:t>changing reporting requirements </a:t>
          </a:r>
          <a:r>
            <a:rPr lang="en-US" dirty="0">
              <a:latin typeface="Futura Std Book"/>
              <a:cs typeface="Arial" panose="020B0604020202020204" pitchFamily="34" charset="0"/>
            </a:rPr>
            <a:t>that make our lives harder</a:t>
          </a:r>
          <a:endParaRPr lang="en-US" dirty="0">
            <a:latin typeface="Futura Std Book"/>
          </a:endParaRPr>
        </a:p>
      </dgm:t>
    </dgm:pt>
    <dgm:pt modelId="{B9FFE18D-D964-4E31-9B7E-B9D27B3024FE}" type="parTrans" cxnId="{CC469315-7FB4-412C-BAFE-8BD272098E1A}">
      <dgm:prSet/>
      <dgm:spPr/>
      <dgm:t>
        <a:bodyPr/>
        <a:lstStyle/>
        <a:p>
          <a:endParaRPr lang="en-US"/>
        </a:p>
      </dgm:t>
    </dgm:pt>
    <dgm:pt modelId="{E4D04BE5-8C9A-4129-8C68-63A5EDEED4F2}" type="sibTrans" cxnId="{CC469315-7FB4-412C-BAFE-8BD272098E1A}">
      <dgm:prSet phldrT="02"/>
      <dgm:spPr/>
      <dgm:t>
        <a:bodyPr/>
        <a:lstStyle/>
        <a:p>
          <a:r>
            <a:rPr lang="en-US" dirty="0">
              <a:latin typeface="Futura Std Book"/>
            </a:rPr>
            <a:t>01</a:t>
          </a:r>
        </a:p>
      </dgm:t>
    </dgm:pt>
    <dgm:pt modelId="{5225FABA-6A09-4B98-832F-B5324EACC0FC}" type="pres">
      <dgm:prSet presAssocID="{C330FDA7-67FF-4D87-A189-472986513068}" presName="Name0" presStyleCnt="0">
        <dgm:presLayoutVars>
          <dgm:animLvl val="lvl"/>
          <dgm:resizeHandles val="exact"/>
        </dgm:presLayoutVars>
      </dgm:prSet>
      <dgm:spPr/>
    </dgm:pt>
    <dgm:pt modelId="{F8DF7496-AE5E-4DAB-8135-638B5E3F22EB}" type="pres">
      <dgm:prSet presAssocID="{9883134B-7223-41B8-B468-36A647DFF46E}" presName="compositeNode" presStyleCnt="0">
        <dgm:presLayoutVars>
          <dgm:bulletEnabled val="1"/>
        </dgm:presLayoutVars>
      </dgm:prSet>
      <dgm:spPr/>
    </dgm:pt>
    <dgm:pt modelId="{503FA571-6799-4CCE-9146-67FBAFEDC4BB}" type="pres">
      <dgm:prSet presAssocID="{9883134B-7223-41B8-B468-36A647DFF46E}" presName="bgRect" presStyleLbl="alignNode1" presStyleIdx="0" presStyleCnt="2" custLinFactNeighborX="-65"/>
      <dgm:spPr/>
    </dgm:pt>
    <dgm:pt modelId="{E0AFE779-A6A1-4E56-9987-D67A0BD814BF}" type="pres">
      <dgm:prSet presAssocID="{E4D04BE5-8C9A-4129-8C68-63A5EDEED4F2}" presName="sibTransNodeRect" presStyleLbl="alignNode1" presStyleIdx="0" presStyleCnt="2">
        <dgm:presLayoutVars>
          <dgm:chMax val="0"/>
          <dgm:bulletEnabled val="1"/>
        </dgm:presLayoutVars>
      </dgm:prSet>
      <dgm:spPr/>
    </dgm:pt>
    <dgm:pt modelId="{6CE13C91-BF43-4B15-930C-56BED8735D73}" type="pres">
      <dgm:prSet presAssocID="{9883134B-7223-41B8-B468-36A647DFF46E}" presName="nodeRect" presStyleLbl="alignNode1" presStyleIdx="0" presStyleCnt="2">
        <dgm:presLayoutVars>
          <dgm:bulletEnabled val="1"/>
        </dgm:presLayoutVars>
      </dgm:prSet>
      <dgm:spPr/>
    </dgm:pt>
    <dgm:pt modelId="{43729B32-CCD5-4D53-BC10-2171E2DA623F}" type="pres">
      <dgm:prSet presAssocID="{E4D04BE5-8C9A-4129-8C68-63A5EDEED4F2}" presName="sibTrans" presStyleCnt="0"/>
      <dgm:spPr/>
    </dgm:pt>
    <dgm:pt modelId="{459B2785-0CA1-48E0-9FB6-E4DFC7E8A8FB}" type="pres">
      <dgm:prSet presAssocID="{71A445D0-CF6E-463D-A3F2-075BAD39574D}" presName="compositeNode" presStyleCnt="0">
        <dgm:presLayoutVars>
          <dgm:bulletEnabled val="1"/>
        </dgm:presLayoutVars>
      </dgm:prSet>
      <dgm:spPr/>
    </dgm:pt>
    <dgm:pt modelId="{319DC7AA-5C9A-4B2A-8086-79095DF9A2F2}" type="pres">
      <dgm:prSet presAssocID="{71A445D0-CF6E-463D-A3F2-075BAD39574D}" presName="bgRect" presStyleLbl="alignNode1" presStyleIdx="1" presStyleCnt="2" custLinFactNeighborX="36348" custLinFactNeighborY="-4125"/>
      <dgm:spPr/>
    </dgm:pt>
    <dgm:pt modelId="{019CBD6C-5FCE-4B20-8B84-985B0EEC8A29}" type="pres">
      <dgm:prSet presAssocID="{8B4B3B8E-7627-46E4-8A23-64C907CC83B5}" presName="sibTransNodeRect" presStyleLbl="alignNode1" presStyleIdx="1" presStyleCnt="2">
        <dgm:presLayoutVars>
          <dgm:chMax val="0"/>
          <dgm:bulletEnabled val="1"/>
        </dgm:presLayoutVars>
      </dgm:prSet>
      <dgm:spPr/>
    </dgm:pt>
    <dgm:pt modelId="{8CEF9965-D05B-4BD5-8E34-058524763686}" type="pres">
      <dgm:prSet presAssocID="{71A445D0-CF6E-463D-A3F2-075BAD39574D}" presName="nodeRect" presStyleLbl="alignNode1" presStyleIdx="1" presStyleCnt="2">
        <dgm:presLayoutVars>
          <dgm:bulletEnabled val="1"/>
        </dgm:presLayoutVars>
      </dgm:prSet>
      <dgm:spPr/>
    </dgm:pt>
  </dgm:ptLst>
  <dgm:cxnLst>
    <dgm:cxn modelId="{CC469315-7FB4-412C-BAFE-8BD272098E1A}" srcId="{C330FDA7-67FF-4D87-A189-472986513068}" destId="{9883134B-7223-41B8-B468-36A647DFF46E}" srcOrd="0" destOrd="0" parTransId="{B9FFE18D-D964-4E31-9B7E-B9D27B3024FE}" sibTransId="{E4D04BE5-8C9A-4129-8C68-63A5EDEED4F2}"/>
    <dgm:cxn modelId="{6A188D2B-8A96-4434-B10E-0644D07B5EF2}" type="presOf" srcId="{9883134B-7223-41B8-B468-36A647DFF46E}" destId="{503FA571-6799-4CCE-9146-67FBAFEDC4BB}" srcOrd="0" destOrd="0" presId="urn:microsoft.com/office/officeart/2016/7/layout/LinearBlockProcessNumbered"/>
    <dgm:cxn modelId="{EC038144-BCD6-4853-BC87-A8D09AAE90AC}" type="presOf" srcId="{9883134B-7223-41B8-B468-36A647DFF46E}" destId="{6CE13C91-BF43-4B15-930C-56BED8735D73}" srcOrd="1" destOrd="0" presId="urn:microsoft.com/office/officeart/2016/7/layout/LinearBlockProcessNumbered"/>
    <dgm:cxn modelId="{9A440376-6D68-4761-B7B5-023A59A9CE44}" srcId="{C330FDA7-67FF-4D87-A189-472986513068}" destId="{71A445D0-CF6E-463D-A3F2-075BAD39574D}" srcOrd="1" destOrd="0" parTransId="{3BD59B9A-DE45-4042-A897-E1F871BA7600}" sibTransId="{8B4B3B8E-7627-46E4-8A23-64C907CC83B5}"/>
    <dgm:cxn modelId="{9C81A48B-F8A9-48CC-BEEB-DBBF73BF8494}" type="presOf" srcId="{71A445D0-CF6E-463D-A3F2-075BAD39574D}" destId="{319DC7AA-5C9A-4B2A-8086-79095DF9A2F2}" srcOrd="0" destOrd="0" presId="urn:microsoft.com/office/officeart/2016/7/layout/LinearBlockProcessNumbered"/>
    <dgm:cxn modelId="{9AAEBD91-6BC5-4350-AD18-EAC02E8DDFB8}" type="presOf" srcId="{C330FDA7-67FF-4D87-A189-472986513068}" destId="{5225FABA-6A09-4B98-832F-B5324EACC0FC}" srcOrd="0" destOrd="0" presId="urn:microsoft.com/office/officeart/2016/7/layout/LinearBlockProcessNumbered"/>
    <dgm:cxn modelId="{7397EDA2-DBA1-48F1-A75C-0099E3DF33E4}" type="presOf" srcId="{71A445D0-CF6E-463D-A3F2-075BAD39574D}" destId="{8CEF9965-D05B-4BD5-8E34-058524763686}" srcOrd="1" destOrd="0" presId="urn:microsoft.com/office/officeart/2016/7/layout/LinearBlockProcessNumbered"/>
    <dgm:cxn modelId="{48EEACBF-3A94-4265-A895-28E84E9BEC3A}" type="presOf" srcId="{E4D04BE5-8C9A-4129-8C68-63A5EDEED4F2}" destId="{E0AFE779-A6A1-4E56-9987-D67A0BD814BF}" srcOrd="0" destOrd="0" presId="urn:microsoft.com/office/officeart/2016/7/layout/LinearBlockProcessNumbered"/>
    <dgm:cxn modelId="{391EC7EC-AB7F-4AF4-9B27-226FC8508B93}" type="presOf" srcId="{8B4B3B8E-7627-46E4-8A23-64C907CC83B5}" destId="{019CBD6C-5FCE-4B20-8B84-985B0EEC8A29}" srcOrd="0" destOrd="0" presId="urn:microsoft.com/office/officeart/2016/7/layout/LinearBlockProcessNumbered"/>
    <dgm:cxn modelId="{AD9210D8-5E68-4BFE-A0CF-20A31B4E9D3A}" type="presParOf" srcId="{5225FABA-6A09-4B98-832F-B5324EACC0FC}" destId="{F8DF7496-AE5E-4DAB-8135-638B5E3F22EB}" srcOrd="0" destOrd="0" presId="urn:microsoft.com/office/officeart/2016/7/layout/LinearBlockProcessNumbered"/>
    <dgm:cxn modelId="{86DC2351-A4AA-4FEF-94F9-73611AF725C4}" type="presParOf" srcId="{F8DF7496-AE5E-4DAB-8135-638B5E3F22EB}" destId="{503FA571-6799-4CCE-9146-67FBAFEDC4BB}" srcOrd="0" destOrd="0" presId="urn:microsoft.com/office/officeart/2016/7/layout/LinearBlockProcessNumbered"/>
    <dgm:cxn modelId="{108C8EEB-B845-462C-9C78-BDF41244B895}" type="presParOf" srcId="{F8DF7496-AE5E-4DAB-8135-638B5E3F22EB}" destId="{E0AFE779-A6A1-4E56-9987-D67A0BD814BF}" srcOrd="1" destOrd="0" presId="urn:microsoft.com/office/officeart/2016/7/layout/LinearBlockProcessNumbered"/>
    <dgm:cxn modelId="{C29F140E-90A4-439A-A0C1-2941709DAACD}" type="presParOf" srcId="{F8DF7496-AE5E-4DAB-8135-638B5E3F22EB}" destId="{6CE13C91-BF43-4B15-930C-56BED8735D73}" srcOrd="2" destOrd="0" presId="urn:microsoft.com/office/officeart/2016/7/layout/LinearBlockProcessNumbered"/>
    <dgm:cxn modelId="{BD22D5FA-C9DA-4636-ADEC-266FCCE7F622}" type="presParOf" srcId="{5225FABA-6A09-4B98-832F-B5324EACC0FC}" destId="{43729B32-CCD5-4D53-BC10-2171E2DA623F}" srcOrd="1" destOrd="0" presId="urn:microsoft.com/office/officeart/2016/7/layout/LinearBlockProcessNumbered"/>
    <dgm:cxn modelId="{4C597591-9BF7-4BDB-BC4B-356936F41518}" type="presParOf" srcId="{5225FABA-6A09-4B98-832F-B5324EACC0FC}" destId="{459B2785-0CA1-48E0-9FB6-E4DFC7E8A8FB}" srcOrd="2" destOrd="0" presId="urn:microsoft.com/office/officeart/2016/7/layout/LinearBlockProcessNumbered"/>
    <dgm:cxn modelId="{784F682B-10BA-4C96-80D0-FE476033FBC7}" type="presParOf" srcId="{459B2785-0CA1-48E0-9FB6-E4DFC7E8A8FB}" destId="{319DC7AA-5C9A-4B2A-8086-79095DF9A2F2}" srcOrd="0" destOrd="0" presId="urn:microsoft.com/office/officeart/2016/7/layout/LinearBlockProcessNumbered"/>
    <dgm:cxn modelId="{B6F13851-6FBA-421D-B11F-9336CEB7B213}" type="presParOf" srcId="{459B2785-0CA1-48E0-9FB6-E4DFC7E8A8FB}" destId="{019CBD6C-5FCE-4B20-8B84-985B0EEC8A29}" srcOrd="1" destOrd="0" presId="urn:microsoft.com/office/officeart/2016/7/layout/LinearBlockProcessNumbered"/>
    <dgm:cxn modelId="{AE914154-2EC8-4730-ACD0-6BF1853D1E1F}" type="presParOf" srcId="{459B2785-0CA1-48E0-9FB6-E4DFC7E8A8FB}" destId="{8CEF9965-D05B-4BD5-8E34-058524763686}" srcOrd="2" destOrd="0" presId="urn:microsoft.com/office/officeart/2016/7/layout/LinearBlockProcessNumbered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734352-26FE-44D1-AC67-60605666D55D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51B03EC-70B0-4EA9-AC2B-07D6F38016CD}">
      <dgm:prSet phldrT="[Text]" custT="1"/>
      <dgm:spPr>
        <a:ln>
          <a:solidFill>
            <a:schemeClr val="accent1">
              <a:lumMod val="40000"/>
              <a:lumOff val="60000"/>
            </a:schemeClr>
          </a:solidFill>
        </a:ln>
      </dgm:spPr>
      <dgm:t>
        <a:bodyPr/>
        <a:lstStyle/>
        <a:p>
          <a:r>
            <a:rPr lang="en-US" sz="240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Existing</a:t>
          </a:r>
          <a:endParaRPr lang="en-US" sz="240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gm:t>
    </dgm:pt>
    <dgm:pt modelId="{04A27B3A-894B-4B63-A38B-32A8FCDEBE6F}" type="parTrans" cxnId="{C6C16C71-72E6-4113-A71B-C3D2BF048EC2}">
      <dgm:prSet/>
      <dgm:spPr/>
      <dgm:t>
        <a:bodyPr/>
        <a:lstStyle/>
        <a:p>
          <a:endParaRPr lang="en-US" sz="1600"/>
        </a:p>
      </dgm:t>
    </dgm:pt>
    <dgm:pt modelId="{42578A0D-30C0-46D6-BE03-7ACE27A1F149}" type="sibTrans" cxnId="{C6C16C71-72E6-4113-A71B-C3D2BF048EC2}">
      <dgm:prSet/>
      <dgm:spPr/>
      <dgm:t>
        <a:bodyPr/>
        <a:lstStyle/>
        <a:p>
          <a:endParaRPr lang="en-US" sz="1600"/>
        </a:p>
      </dgm:t>
    </dgm:pt>
    <dgm:pt modelId="{BBFFD069-7DF0-4816-98E9-EA5A963BA128}">
      <dgm:prSet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en-US" sz="2400" b="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New</a:t>
          </a:r>
          <a:endParaRPr lang="en-US" sz="2400" b="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gm:t>
    </dgm:pt>
    <dgm:pt modelId="{8DF74D2F-A80B-42B8-BA34-3DB9628395FF}" type="parTrans" cxnId="{842AE7BE-C9E9-489A-8814-710CC78F3066}">
      <dgm:prSet/>
      <dgm:spPr/>
      <dgm:t>
        <a:bodyPr/>
        <a:lstStyle/>
        <a:p>
          <a:endParaRPr lang="en-US" sz="1600"/>
        </a:p>
      </dgm:t>
    </dgm:pt>
    <dgm:pt modelId="{06859C27-6B47-4D97-9A60-7BBB75A8C602}" type="sibTrans" cxnId="{842AE7BE-C9E9-489A-8814-710CC78F3066}">
      <dgm:prSet/>
      <dgm:spPr/>
      <dgm:t>
        <a:bodyPr/>
        <a:lstStyle/>
        <a:p>
          <a:endParaRPr lang="en-US" sz="1600"/>
        </a:p>
      </dgm:t>
    </dgm:pt>
    <dgm:pt modelId="{5E0A1A6E-B699-434F-A405-6F9A8ECB71B6}">
      <dgm:prSet custT="1"/>
      <dgm:spPr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en-US" sz="2400" b="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Coming Soon</a:t>
          </a:r>
          <a:endParaRPr lang="en-US" sz="2400" b="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gm:t>
    </dgm:pt>
    <dgm:pt modelId="{0F9B80E5-9081-42A0-8476-F7E08909FD6C}" type="parTrans" cxnId="{E1A96CDC-6C2E-40D2-8A78-719B71675B14}">
      <dgm:prSet/>
      <dgm:spPr/>
      <dgm:t>
        <a:bodyPr/>
        <a:lstStyle/>
        <a:p>
          <a:endParaRPr lang="en-US" sz="1600"/>
        </a:p>
      </dgm:t>
    </dgm:pt>
    <dgm:pt modelId="{60F1C821-D120-45D7-A6E8-066556D24090}" type="sibTrans" cxnId="{E1A96CDC-6C2E-40D2-8A78-719B71675B14}">
      <dgm:prSet/>
      <dgm:spPr/>
      <dgm:t>
        <a:bodyPr/>
        <a:lstStyle/>
        <a:p>
          <a:endParaRPr lang="en-US" sz="1600"/>
        </a:p>
      </dgm:t>
    </dgm:pt>
    <dgm:pt modelId="{01461D69-8325-4715-A213-32BD05E4369E}" type="pres">
      <dgm:prSet presAssocID="{07734352-26FE-44D1-AC67-60605666D55D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49C05DBF-5A28-4E41-8A40-21B6826C22C4}" type="pres">
      <dgm:prSet presAssocID="{5E0A1A6E-B699-434F-A405-6F9A8ECB71B6}" presName="Accent3" presStyleCnt="0"/>
      <dgm:spPr/>
    </dgm:pt>
    <dgm:pt modelId="{06D635A4-2F91-421C-BC27-C471CDAE3508}" type="pres">
      <dgm:prSet presAssocID="{5E0A1A6E-B699-434F-A405-6F9A8ECB71B6}" presName="Accent" presStyleLbl="node1" presStyleIdx="0" presStyleCnt="3"/>
      <dgm:spPr>
        <a:solidFill>
          <a:schemeClr val="accent1">
            <a:lumMod val="50000"/>
          </a:schemeClr>
        </a:solidFill>
      </dgm:spPr>
    </dgm:pt>
    <dgm:pt modelId="{9F47B92C-0527-4BCF-AC01-5030299A63E4}" type="pres">
      <dgm:prSet presAssocID="{5E0A1A6E-B699-434F-A405-6F9A8ECB71B6}" presName="ParentBackground3" presStyleCnt="0"/>
      <dgm:spPr/>
    </dgm:pt>
    <dgm:pt modelId="{5E997710-046F-40C3-ABFF-91503273DCE9}" type="pres">
      <dgm:prSet presAssocID="{5E0A1A6E-B699-434F-A405-6F9A8ECB71B6}" presName="ParentBackground" presStyleLbl="fgAcc1" presStyleIdx="0" presStyleCnt="3"/>
      <dgm:spPr/>
    </dgm:pt>
    <dgm:pt modelId="{324E50FA-D7E8-447C-83C5-6DF5CA239F40}" type="pres">
      <dgm:prSet presAssocID="{5E0A1A6E-B699-434F-A405-6F9A8ECB71B6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49D8F5E4-3053-46A7-941D-1409D96A48CA}" type="pres">
      <dgm:prSet presAssocID="{BBFFD069-7DF0-4816-98E9-EA5A963BA128}" presName="Accent2" presStyleCnt="0"/>
      <dgm:spPr/>
    </dgm:pt>
    <dgm:pt modelId="{AB5EC536-2330-47C8-9C21-2AEED68E11E4}" type="pres">
      <dgm:prSet presAssocID="{BBFFD069-7DF0-4816-98E9-EA5A963BA128}" presName="Accent" presStyleLbl="node1" presStyleIdx="1" presStyleCnt="3"/>
      <dgm:spPr>
        <a:solidFill>
          <a:schemeClr val="accent1">
            <a:lumMod val="75000"/>
          </a:schemeClr>
        </a:solidFill>
      </dgm:spPr>
    </dgm:pt>
    <dgm:pt modelId="{B85D9B91-8001-46E2-ABF8-2115F9C79E41}" type="pres">
      <dgm:prSet presAssocID="{BBFFD069-7DF0-4816-98E9-EA5A963BA128}" presName="ParentBackground2" presStyleCnt="0"/>
      <dgm:spPr/>
    </dgm:pt>
    <dgm:pt modelId="{6409D6DC-F1DF-4815-AC25-544491538311}" type="pres">
      <dgm:prSet presAssocID="{BBFFD069-7DF0-4816-98E9-EA5A963BA128}" presName="ParentBackground" presStyleLbl="fgAcc1" presStyleIdx="1" presStyleCnt="3"/>
      <dgm:spPr/>
    </dgm:pt>
    <dgm:pt modelId="{32452CAF-F01E-4F88-AAD0-A9AF1574CC93}" type="pres">
      <dgm:prSet presAssocID="{BBFFD069-7DF0-4816-98E9-EA5A963BA128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36FA7D97-6B55-4733-BDEA-3F54B5DBCFE5}" type="pres">
      <dgm:prSet presAssocID="{251B03EC-70B0-4EA9-AC2B-07D6F38016CD}" presName="Accent1" presStyleCnt="0"/>
      <dgm:spPr/>
    </dgm:pt>
    <dgm:pt modelId="{7BC2C4F7-A6C7-42E1-9E33-57BDD42FE1BB}" type="pres">
      <dgm:prSet presAssocID="{251B03EC-70B0-4EA9-AC2B-07D6F38016CD}" presName="Accent" presStyleLbl="node1" presStyleIdx="2" presStyleCnt="3"/>
      <dgm:spPr>
        <a:solidFill>
          <a:schemeClr val="accent1">
            <a:lumMod val="40000"/>
            <a:lumOff val="60000"/>
          </a:schemeClr>
        </a:solidFill>
      </dgm:spPr>
    </dgm:pt>
    <dgm:pt modelId="{15A18C57-FB1C-4EF9-A65C-C6D90FD20D64}" type="pres">
      <dgm:prSet presAssocID="{251B03EC-70B0-4EA9-AC2B-07D6F38016CD}" presName="ParentBackground1" presStyleCnt="0"/>
      <dgm:spPr/>
    </dgm:pt>
    <dgm:pt modelId="{5F12BD58-F406-4619-AEB7-3AE618B93B0E}" type="pres">
      <dgm:prSet presAssocID="{251B03EC-70B0-4EA9-AC2B-07D6F38016CD}" presName="ParentBackground" presStyleLbl="fgAcc1" presStyleIdx="2" presStyleCnt="3"/>
      <dgm:spPr/>
    </dgm:pt>
    <dgm:pt modelId="{9AC408DD-A4D2-41E5-9FC7-D1E2BADB22C0}" type="pres">
      <dgm:prSet presAssocID="{251B03EC-70B0-4EA9-AC2B-07D6F38016CD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2D18E328-AB63-49BF-88C5-2BB923BC5A06}" type="presOf" srcId="{251B03EC-70B0-4EA9-AC2B-07D6F38016CD}" destId="{5F12BD58-F406-4619-AEB7-3AE618B93B0E}" srcOrd="0" destOrd="0" presId="urn:microsoft.com/office/officeart/2011/layout/CircleProcess"/>
    <dgm:cxn modelId="{F4C94160-1847-4A80-AB7F-B07885D7E78F}" type="presOf" srcId="{251B03EC-70B0-4EA9-AC2B-07D6F38016CD}" destId="{9AC408DD-A4D2-41E5-9FC7-D1E2BADB22C0}" srcOrd="1" destOrd="0" presId="urn:microsoft.com/office/officeart/2011/layout/CircleProcess"/>
    <dgm:cxn modelId="{C6C16C71-72E6-4113-A71B-C3D2BF048EC2}" srcId="{07734352-26FE-44D1-AC67-60605666D55D}" destId="{251B03EC-70B0-4EA9-AC2B-07D6F38016CD}" srcOrd="0" destOrd="0" parTransId="{04A27B3A-894B-4B63-A38B-32A8FCDEBE6F}" sibTransId="{42578A0D-30C0-46D6-BE03-7ACE27A1F149}"/>
    <dgm:cxn modelId="{F69E427C-8A42-4BB6-8A99-B52E1FFEEF1E}" type="presOf" srcId="{5E0A1A6E-B699-434F-A405-6F9A8ECB71B6}" destId="{324E50FA-D7E8-447C-83C5-6DF5CA239F40}" srcOrd="1" destOrd="0" presId="urn:microsoft.com/office/officeart/2011/layout/CircleProcess"/>
    <dgm:cxn modelId="{C91FA2A1-670E-46ED-955A-AFB385A37E5D}" type="presOf" srcId="{5E0A1A6E-B699-434F-A405-6F9A8ECB71B6}" destId="{5E997710-046F-40C3-ABFF-91503273DCE9}" srcOrd="0" destOrd="0" presId="urn:microsoft.com/office/officeart/2011/layout/CircleProcess"/>
    <dgm:cxn modelId="{842AE7BE-C9E9-489A-8814-710CC78F3066}" srcId="{07734352-26FE-44D1-AC67-60605666D55D}" destId="{BBFFD069-7DF0-4816-98E9-EA5A963BA128}" srcOrd="1" destOrd="0" parTransId="{8DF74D2F-A80B-42B8-BA34-3DB9628395FF}" sibTransId="{06859C27-6B47-4D97-9A60-7BBB75A8C602}"/>
    <dgm:cxn modelId="{98D17FCC-41C9-41D0-B509-81766ED40C75}" type="presOf" srcId="{BBFFD069-7DF0-4816-98E9-EA5A963BA128}" destId="{32452CAF-F01E-4F88-AAD0-A9AF1574CC93}" srcOrd="1" destOrd="0" presId="urn:microsoft.com/office/officeart/2011/layout/CircleProcess"/>
    <dgm:cxn modelId="{F4871ED3-C8EE-43B3-903A-8ADE15D73973}" type="presOf" srcId="{BBFFD069-7DF0-4816-98E9-EA5A963BA128}" destId="{6409D6DC-F1DF-4815-AC25-544491538311}" srcOrd="0" destOrd="0" presId="urn:microsoft.com/office/officeart/2011/layout/CircleProcess"/>
    <dgm:cxn modelId="{E1A96CDC-6C2E-40D2-8A78-719B71675B14}" srcId="{07734352-26FE-44D1-AC67-60605666D55D}" destId="{5E0A1A6E-B699-434F-A405-6F9A8ECB71B6}" srcOrd="2" destOrd="0" parTransId="{0F9B80E5-9081-42A0-8476-F7E08909FD6C}" sibTransId="{60F1C821-D120-45D7-A6E8-066556D24090}"/>
    <dgm:cxn modelId="{D3347CE8-30C9-4E5F-B31F-896F97342BFB}" type="presOf" srcId="{07734352-26FE-44D1-AC67-60605666D55D}" destId="{01461D69-8325-4715-A213-32BD05E4369E}" srcOrd="0" destOrd="0" presId="urn:microsoft.com/office/officeart/2011/layout/CircleProcess"/>
    <dgm:cxn modelId="{F87AB22A-82A8-4C35-84A1-CD9C88989860}" type="presParOf" srcId="{01461D69-8325-4715-A213-32BD05E4369E}" destId="{49C05DBF-5A28-4E41-8A40-21B6826C22C4}" srcOrd="0" destOrd="0" presId="urn:microsoft.com/office/officeart/2011/layout/CircleProcess"/>
    <dgm:cxn modelId="{BF9BD539-0062-4515-B9F7-892153E70E42}" type="presParOf" srcId="{49C05DBF-5A28-4E41-8A40-21B6826C22C4}" destId="{06D635A4-2F91-421C-BC27-C471CDAE3508}" srcOrd="0" destOrd="0" presId="urn:microsoft.com/office/officeart/2011/layout/CircleProcess"/>
    <dgm:cxn modelId="{AB745996-D317-402E-A51A-DDB5BFB29B58}" type="presParOf" srcId="{01461D69-8325-4715-A213-32BD05E4369E}" destId="{9F47B92C-0527-4BCF-AC01-5030299A63E4}" srcOrd="1" destOrd="0" presId="urn:microsoft.com/office/officeart/2011/layout/CircleProcess"/>
    <dgm:cxn modelId="{317C0B71-6B8D-4BBA-90B8-03D435DD6C14}" type="presParOf" srcId="{9F47B92C-0527-4BCF-AC01-5030299A63E4}" destId="{5E997710-046F-40C3-ABFF-91503273DCE9}" srcOrd="0" destOrd="0" presId="urn:microsoft.com/office/officeart/2011/layout/CircleProcess"/>
    <dgm:cxn modelId="{BE325931-DE47-4A9C-B784-F26E60566A32}" type="presParOf" srcId="{01461D69-8325-4715-A213-32BD05E4369E}" destId="{324E50FA-D7E8-447C-83C5-6DF5CA239F40}" srcOrd="2" destOrd="0" presId="urn:microsoft.com/office/officeart/2011/layout/CircleProcess"/>
    <dgm:cxn modelId="{99623463-F33A-45C4-953E-E5E9833E5883}" type="presParOf" srcId="{01461D69-8325-4715-A213-32BD05E4369E}" destId="{49D8F5E4-3053-46A7-941D-1409D96A48CA}" srcOrd="3" destOrd="0" presId="urn:microsoft.com/office/officeart/2011/layout/CircleProcess"/>
    <dgm:cxn modelId="{0341470F-4B1C-448B-9CCE-4EAE77DC556F}" type="presParOf" srcId="{49D8F5E4-3053-46A7-941D-1409D96A48CA}" destId="{AB5EC536-2330-47C8-9C21-2AEED68E11E4}" srcOrd="0" destOrd="0" presId="urn:microsoft.com/office/officeart/2011/layout/CircleProcess"/>
    <dgm:cxn modelId="{62139A9D-E61C-40CC-A161-A183C1B4C0D0}" type="presParOf" srcId="{01461D69-8325-4715-A213-32BD05E4369E}" destId="{B85D9B91-8001-46E2-ABF8-2115F9C79E41}" srcOrd="4" destOrd="0" presId="urn:microsoft.com/office/officeart/2011/layout/CircleProcess"/>
    <dgm:cxn modelId="{C6A02C1A-8E94-469D-856A-151B5E1C14E1}" type="presParOf" srcId="{B85D9B91-8001-46E2-ABF8-2115F9C79E41}" destId="{6409D6DC-F1DF-4815-AC25-544491538311}" srcOrd="0" destOrd="0" presId="urn:microsoft.com/office/officeart/2011/layout/CircleProcess"/>
    <dgm:cxn modelId="{5952D585-0951-4B4A-A487-9529265B4FA1}" type="presParOf" srcId="{01461D69-8325-4715-A213-32BD05E4369E}" destId="{32452CAF-F01E-4F88-AAD0-A9AF1574CC93}" srcOrd="5" destOrd="0" presId="urn:microsoft.com/office/officeart/2011/layout/CircleProcess"/>
    <dgm:cxn modelId="{C011AF97-4085-44F3-AA38-5A227D4B45C7}" type="presParOf" srcId="{01461D69-8325-4715-A213-32BD05E4369E}" destId="{36FA7D97-6B55-4733-BDEA-3F54B5DBCFE5}" srcOrd="6" destOrd="0" presId="urn:microsoft.com/office/officeart/2011/layout/CircleProcess"/>
    <dgm:cxn modelId="{4288D0F1-BDB4-4C76-9263-B0742BC06C8B}" type="presParOf" srcId="{36FA7D97-6B55-4733-BDEA-3F54B5DBCFE5}" destId="{7BC2C4F7-A6C7-42E1-9E33-57BDD42FE1BB}" srcOrd="0" destOrd="0" presId="urn:microsoft.com/office/officeart/2011/layout/CircleProcess"/>
    <dgm:cxn modelId="{687574DF-FCF7-4910-96EF-E18ADE0CDD14}" type="presParOf" srcId="{01461D69-8325-4715-A213-32BD05E4369E}" destId="{15A18C57-FB1C-4EF9-A65C-C6D90FD20D64}" srcOrd="7" destOrd="0" presId="urn:microsoft.com/office/officeart/2011/layout/CircleProcess"/>
    <dgm:cxn modelId="{00656087-39FC-4367-BEF7-66D8E5F34BEA}" type="presParOf" srcId="{15A18C57-FB1C-4EF9-A65C-C6D90FD20D64}" destId="{5F12BD58-F406-4619-AEB7-3AE618B93B0E}" srcOrd="0" destOrd="0" presId="urn:microsoft.com/office/officeart/2011/layout/CircleProcess"/>
    <dgm:cxn modelId="{6563D34A-90F6-4758-928B-1CD062B50BD4}" type="presParOf" srcId="{01461D69-8325-4715-A213-32BD05E4369E}" destId="{9AC408DD-A4D2-41E5-9FC7-D1E2BADB22C0}" srcOrd="8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734352-26FE-44D1-AC67-60605666D55D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51B03EC-70B0-4EA9-AC2B-07D6F38016CD}">
      <dgm:prSet phldrT="[Text]" custT="1"/>
      <dgm:spPr>
        <a:ln>
          <a:solidFill>
            <a:schemeClr val="accent1">
              <a:lumMod val="40000"/>
              <a:lumOff val="60000"/>
            </a:schemeClr>
          </a:solidFill>
        </a:ln>
      </dgm:spPr>
      <dgm:t>
        <a:bodyPr/>
        <a:lstStyle/>
        <a:p>
          <a:r>
            <a:rPr lang="en-US" sz="240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Existing</a:t>
          </a:r>
          <a:endParaRPr lang="en-US" sz="240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gm:t>
    </dgm:pt>
    <dgm:pt modelId="{04A27B3A-894B-4B63-A38B-32A8FCDEBE6F}" type="parTrans" cxnId="{C6C16C71-72E6-4113-A71B-C3D2BF048EC2}">
      <dgm:prSet/>
      <dgm:spPr/>
      <dgm:t>
        <a:bodyPr/>
        <a:lstStyle/>
        <a:p>
          <a:endParaRPr lang="en-US" sz="1600"/>
        </a:p>
      </dgm:t>
    </dgm:pt>
    <dgm:pt modelId="{42578A0D-30C0-46D6-BE03-7ACE27A1F149}" type="sibTrans" cxnId="{C6C16C71-72E6-4113-A71B-C3D2BF048EC2}">
      <dgm:prSet/>
      <dgm:spPr/>
      <dgm:t>
        <a:bodyPr/>
        <a:lstStyle/>
        <a:p>
          <a:endParaRPr lang="en-US" sz="1600"/>
        </a:p>
      </dgm:t>
    </dgm:pt>
    <dgm:pt modelId="{BBFFD069-7DF0-4816-98E9-EA5A963BA128}">
      <dgm:prSet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en-US" sz="2400" b="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New</a:t>
          </a:r>
        </a:p>
      </dgm:t>
    </dgm:pt>
    <dgm:pt modelId="{8DF74D2F-A80B-42B8-BA34-3DB9628395FF}" type="parTrans" cxnId="{842AE7BE-C9E9-489A-8814-710CC78F3066}">
      <dgm:prSet/>
      <dgm:spPr/>
      <dgm:t>
        <a:bodyPr/>
        <a:lstStyle/>
        <a:p>
          <a:endParaRPr lang="en-US" sz="1600"/>
        </a:p>
      </dgm:t>
    </dgm:pt>
    <dgm:pt modelId="{06859C27-6B47-4D97-9A60-7BBB75A8C602}" type="sibTrans" cxnId="{842AE7BE-C9E9-489A-8814-710CC78F3066}">
      <dgm:prSet/>
      <dgm:spPr/>
      <dgm:t>
        <a:bodyPr/>
        <a:lstStyle/>
        <a:p>
          <a:endParaRPr lang="en-US" sz="1600"/>
        </a:p>
      </dgm:t>
    </dgm:pt>
    <dgm:pt modelId="{5E0A1A6E-B699-434F-A405-6F9A8ECB71B6}">
      <dgm:prSet custT="1"/>
      <dgm:spPr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en-US" sz="2400" b="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Coming Soon</a:t>
          </a:r>
        </a:p>
      </dgm:t>
    </dgm:pt>
    <dgm:pt modelId="{0F9B80E5-9081-42A0-8476-F7E08909FD6C}" type="parTrans" cxnId="{E1A96CDC-6C2E-40D2-8A78-719B71675B14}">
      <dgm:prSet/>
      <dgm:spPr/>
      <dgm:t>
        <a:bodyPr/>
        <a:lstStyle/>
        <a:p>
          <a:endParaRPr lang="en-US" sz="1600"/>
        </a:p>
      </dgm:t>
    </dgm:pt>
    <dgm:pt modelId="{60F1C821-D120-45D7-A6E8-066556D24090}" type="sibTrans" cxnId="{E1A96CDC-6C2E-40D2-8A78-719B71675B14}">
      <dgm:prSet/>
      <dgm:spPr/>
      <dgm:t>
        <a:bodyPr/>
        <a:lstStyle/>
        <a:p>
          <a:endParaRPr lang="en-US" sz="1600"/>
        </a:p>
      </dgm:t>
    </dgm:pt>
    <dgm:pt modelId="{01461D69-8325-4715-A213-32BD05E4369E}" type="pres">
      <dgm:prSet presAssocID="{07734352-26FE-44D1-AC67-60605666D55D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49C05DBF-5A28-4E41-8A40-21B6826C22C4}" type="pres">
      <dgm:prSet presAssocID="{5E0A1A6E-B699-434F-A405-6F9A8ECB71B6}" presName="Accent3" presStyleCnt="0"/>
      <dgm:spPr/>
    </dgm:pt>
    <dgm:pt modelId="{06D635A4-2F91-421C-BC27-C471CDAE3508}" type="pres">
      <dgm:prSet presAssocID="{5E0A1A6E-B699-434F-A405-6F9A8ECB71B6}" presName="Accent" presStyleLbl="node1" presStyleIdx="0" presStyleCnt="3"/>
      <dgm:spPr>
        <a:solidFill>
          <a:schemeClr val="accent4">
            <a:lumMod val="25000"/>
          </a:schemeClr>
        </a:solidFill>
      </dgm:spPr>
    </dgm:pt>
    <dgm:pt modelId="{9F47B92C-0527-4BCF-AC01-5030299A63E4}" type="pres">
      <dgm:prSet presAssocID="{5E0A1A6E-B699-434F-A405-6F9A8ECB71B6}" presName="ParentBackground3" presStyleCnt="0"/>
      <dgm:spPr/>
    </dgm:pt>
    <dgm:pt modelId="{5E997710-046F-40C3-ABFF-91503273DCE9}" type="pres">
      <dgm:prSet presAssocID="{5E0A1A6E-B699-434F-A405-6F9A8ECB71B6}" presName="ParentBackground" presStyleLbl="fgAcc1" presStyleIdx="0" presStyleCnt="3"/>
      <dgm:spPr/>
    </dgm:pt>
    <dgm:pt modelId="{324E50FA-D7E8-447C-83C5-6DF5CA239F40}" type="pres">
      <dgm:prSet presAssocID="{5E0A1A6E-B699-434F-A405-6F9A8ECB71B6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49D8F5E4-3053-46A7-941D-1409D96A48CA}" type="pres">
      <dgm:prSet presAssocID="{BBFFD069-7DF0-4816-98E9-EA5A963BA128}" presName="Accent2" presStyleCnt="0"/>
      <dgm:spPr/>
    </dgm:pt>
    <dgm:pt modelId="{AB5EC536-2330-47C8-9C21-2AEED68E11E4}" type="pres">
      <dgm:prSet presAssocID="{BBFFD069-7DF0-4816-98E9-EA5A963BA128}" presName="Accent" presStyleLbl="node1" presStyleIdx="1" presStyleCnt="3"/>
      <dgm:spPr>
        <a:solidFill>
          <a:schemeClr val="accent4">
            <a:lumMod val="25000"/>
          </a:schemeClr>
        </a:solidFill>
      </dgm:spPr>
    </dgm:pt>
    <dgm:pt modelId="{B85D9B91-8001-46E2-ABF8-2115F9C79E41}" type="pres">
      <dgm:prSet presAssocID="{BBFFD069-7DF0-4816-98E9-EA5A963BA128}" presName="ParentBackground2" presStyleCnt="0"/>
      <dgm:spPr/>
    </dgm:pt>
    <dgm:pt modelId="{6409D6DC-F1DF-4815-AC25-544491538311}" type="pres">
      <dgm:prSet presAssocID="{BBFFD069-7DF0-4816-98E9-EA5A963BA128}" presName="ParentBackground" presStyleLbl="fgAcc1" presStyleIdx="1" presStyleCnt="3"/>
      <dgm:spPr/>
    </dgm:pt>
    <dgm:pt modelId="{32452CAF-F01E-4F88-AAD0-A9AF1574CC93}" type="pres">
      <dgm:prSet presAssocID="{BBFFD069-7DF0-4816-98E9-EA5A963BA128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36FA7D97-6B55-4733-BDEA-3F54B5DBCFE5}" type="pres">
      <dgm:prSet presAssocID="{251B03EC-70B0-4EA9-AC2B-07D6F38016CD}" presName="Accent1" presStyleCnt="0"/>
      <dgm:spPr/>
    </dgm:pt>
    <dgm:pt modelId="{7BC2C4F7-A6C7-42E1-9E33-57BDD42FE1BB}" type="pres">
      <dgm:prSet presAssocID="{251B03EC-70B0-4EA9-AC2B-07D6F38016CD}" presName="Accent" presStyleLbl="node1" presStyleIdx="2" presStyleCnt="3"/>
      <dgm:spPr>
        <a:solidFill>
          <a:schemeClr val="accent1">
            <a:lumMod val="40000"/>
            <a:lumOff val="60000"/>
          </a:schemeClr>
        </a:solidFill>
      </dgm:spPr>
    </dgm:pt>
    <dgm:pt modelId="{15A18C57-FB1C-4EF9-A65C-C6D90FD20D64}" type="pres">
      <dgm:prSet presAssocID="{251B03EC-70B0-4EA9-AC2B-07D6F38016CD}" presName="ParentBackground1" presStyleCnt="0"/>
      <dgm:spPr/>
    </dgm:pt>
    <dgm:pt modelId="{5F12BD58-F406-4619-AEB7-3AE618B93B0E}" type="pres">
      <dgm:prSet presAssocID="{251B03EC-70B0-4EA9-AC2B-07D6F38016CD}" presName="ParentBackground" presStyleLbl="fgAcc1" presStyleIdx="2" presStyleCnt="3"/>
      <dgm:spPr/>
    </dgm:pt>
    <dgm:pt modelId="{9AC408DD-A4D2-41E5-9FC7-D1E2BADB22C0}" type="pres">
      <dgm:prSet presAssocID="{251B03EC-70B0-4EA9-AC2B-07D6F38016CD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2D18E328-AB63-49BF-88C5-2BB923BC5A06}" type="presOf" srcId="{251B03EC-70B0-4EA9-AC2B-07D6F38016CD}" destId="{5F12BD58-F406-4619-AEB7-3AE618B93B0E}" srcOrd="0" destOrd="0" presId="urn:microsoft.com/office/officeart/2011/layout/CircleProcess"/>
    <dgm:cxn modelId="{F4C94160-1847-4A80-AB7F-B07885D7E78F}" type="presOf" srcId="{251B03EC-70B0-4EA9-AC2B-07D6F38016CD}" destId="{9AC408DD-A4D2-41E5-9FC7-D1E2BADB22C0}" srcOrd="1" destOrd="0" presId="urn:microsoft.com/office/officeart/2011/layout/CircleProcess"/>
    <dgm:cxn modelId="{C6C16C71-72E6-4113-A71B-C3D2BF048EC2}" srcId="{07734352-26FE-44D1-AC67-60605666D55D}" destId="{251B03EC-70B0-4EA9-AC2B-07D6F38016CD}" srcOrd="0" destOrd="0" parTransId="{04A27B3A-894B-4B63-A38B-32A8FCDEBE6F}" sibTransId="{42578A0D-30C0-46D6-BE03-7ACE27A1F149}"/>
    <dgm:cxn modelId="{F69E427C-8A42-4BB6-8A99-B52E1FFEEF1E}" type="presOf" srcId="{5E0A1A6E-B699-434F-A405-6F9A8ECB71B6}" destId="{324E50FA-D7E8-447C-83C5-6DF5CA239F40}" srcOrd="1" destOrd="0" presId="urn:microsoft.com/office/officeart/2011/layout/CircleProcess"/>
    <dgm:cxn modelId="{C91FA2A1-670E-46ED-955A-AFB385A37E5D}" type="presOf" srcId="{5E0A1A6E-B699-434F-A405-6F9A8ECB71B6}" destId="{5E997710-046F-40C3-ABFF-91503273DCE9}" srcOrd="0" destOrd="0" presId="urn:microsoft.com/office/officeart/2011/layout/CircleProcess"/>
    <dgm:cxn modelId="{842AE7BE-C9E9-489A-8814-710CC78F3066}" srcId="{07734352-26FE-44D1-AC67-60605666D55D}" destId="{BBFFD069-7DF0-4816-98E9-EA5A963BA128}" srcOrd="1" destOrd="0" parTransId="{8DF74D2F-A80B-42B8-BA34-3DB9628395FF}" sibTransId="{06859C27-6B47-4D97-9A60-7BBB75A8C602}"/>
    <dgm:cxn modelId="{98D17FCC-41C9-41D0-B509-81766ED40C75}" type="presOf" srcId="{BBFFD069-7DF0-4816-98E9-EA5A963BA128}" destId="{32452CAF-F01E-4F88-AAD0-A9AF1574CC93}" srcOrd="1" destOrd="0" presId="urn:microsoft.com/office/officeart/2011/layout/CircleProcess"/>
    <dgm:cxn modelId="{F4871ED3-C8EE-43B3-903A-8ADE15D73973}" type="presOf" srcId="{BBFFD069-7DF0-4816-98E9-EA5A963BA128}" destId="{6409D6DC-F1DF-4815-AC25-544491538311}" srcOrd="0" destOrd="0" presId="urn:microsoft.com/office/officeart/2011/layout/CircleProcess"/>
    <dgm:cxn modelId="{E1A96CDC-6C2E-40D2-8A78-719B71675B14}" srcId="{07734352-26FE-44D1-AC67-60605666D55D}" destId="{5E0A1A6E-B699-434F-A405-6F9A8ECB71B6}" srcOrd="2" destOrd="0" parTransId="{0F9B80E5-9081-42A0-8476-F7E08909FD6C}" sibTransId="{60F1C821-D120-45D7-A6E8-066556D24090}"/>
    <dgm:cxn modelId="{D3347CE8-30C9-4E5F-B31F-896F97342BFB}" type="presOf" srcId="{07734352-26FE-44D1-AC67-60605666D55D}" destId="{01461D69-8325-4715-A213-32BD05E4369E}" srcOrd="0" destOrd="0" presId="urn:microsoft.com/office/officeart/2011/layout/CircleProcess"/>
    <dgm:cxn modelId="{F87AB22A-82A8-4C35-84A1-CD9C88989860}" type="presParOf" srcId="{01461D69-8325-4715-A213-32BD05E4369E}" destId="{49C05DBF-5A28-4E41-8A40-21B6826C22C4}" srcOrd="0" destOrd="0" presId="urn:microsoft.com/office/officeart/2011/layout/CircleProcess"/>
    <dgm:cxn modelId="{BF9BD539-0062-4515-B9F7-892153E70E42}" type="presParOf" srcId="{49C05DBF-5A28-4E41-8A40-21B6826C22C4}" destId="{06D635A4-2F91-421C-BC27-C471CDAE3508}" srcOrd="0" destOrd="0" presId="urn:microsoft.com/office/officeart/2011/layout/CircleProcess"/>
    <dgm:cxn modelId="{AB745996-D317-402E-A51A-DDB5BFB29B58}" type="presParOf" srcId="{01461D69-8325-4715-A213-32BD05E4369E}" destId="{9F47B92C-0527-4BCF-AC01-5030299A63E4}" srcOrd="1" destOrd="0" presId="urn:microsoft.com/office/officeart/2011/layout/CircleProcess"/>
    <dgm:cxn modelId="{317C0B71-6B8D-4BBA-90B8-03D435DD6C14}" type="presParOf" srcId="{9F47B92C-0527-4BCF-AC01-5030299A63E4}" destId="{5E997710-046F-40C3-ABFF-91503273DCE9}" srcOrd="0" destOrd="0" presId="urn:microsoft.com/office/officeart/2011/layout/CircleProcess"/>
    <dgm:cxn modelId="{BE325931-DE47-4A9C-B784-F26E60566A32}" type="presParOf" srcId="{01461D69-8325-4715-A213-32BD05E4369E}" destId="{324E50FA-D7E8-447C-83C5-6DF5CA239F40}" srcOrd="2" destOrd="0" presId="urn:microsoft.com/office/officeart/2011/layout/CircleProcess"/>
    <dgm:cxn modelId="{99623463-F33A-45C4-953E-E5E9833E5883}" type="presParOf" srcId="{01461D69-8325-4715-A213-32BD05E4369E}" destId="{49D8F5E4-3053-46A7-941D-1409D96A48CA}" srcOrd="3" destOrd="0" presId="urn:microsoft.com/office/officeart/2011/layout/CircleProcess"/>
    <dgm:cxn modelId="{0341470F-4B1C-448B-9CCE-4EAE77DC556F}" type="presParOf" srcId="{49D8F5E4-3053-46A7-941D-1409D96A48CA}" destId="{AB5EC536-2330-47C8-9C21-2AEED68E11E4}" srcOrd="0" destOrd="0" presId="urn:microsoft.com/office/officeart/2011/layout/CircleProcess"/>
    <dgm:cxn modelId="{62139A9D-E61C-40CC-A161-A183C1B4C0D0}" type="presParOf" srcId="{01461D69-8325-4715-A213-32BD05E4369E}" destId="{B85D9B91-8001-46E2-ABF8-2115F9C79E41}" srcOrd="4" destOrd="0" presId="urn:microsoft.com/office/officeart/2011/layout/CircleProcess"/>
    <dgm:cxn modelId="{C6A02C1A-8E94-469D-856A-151B5E1C14E1}" type="presParOf" srcId="{B85D9B91-8001-46E2-ABF8-2115F9C79E41}" destId="{6409D6DC-F1DF-4815-AC25-544491538311}" srcOrd="0" destOrd="0" presId="urn:microsoft.com/office/officeart/2011/layout/CircleProcess"/>
    <dgm:cxn modelId="{5952D585-0951-4B4A-A487-9529265B4FA1}" type="presParOf" srcId="{01461D69-8325-4715-A213-32BD05E4369E}" destId="{32452CAF-F01E-4F88-AAD0-A9AF1574CC93}" srcOrd="5" destOrd="0" presId="urn:microsoft.com/office/officeart/2011/layout/CircleProcess"/>
    <dgm:cxn modelId="{C011AF97-4085-44F3-AA38-5A227D4B45C7}" type="presParOf" srcId="{01461D69-8325-4715-A213-32BD05E4369E}" destId="{36FA7D97-6B55-4733-BDEA-3F54B5DBCFE5}" srcOrd="6" destOrd="0" presId="urn:microsoft.com/office/officeart/2011/layout/CircleProcess"/>
    <dgm:cxn modelId="{4288D0F1-BDB4-4C76-9263-B0742BC06C8B}" type="presParOf" srcId="{36FA7D97-6B55-4733-BDEA-3F54B5DBCFE5}" destId="{7BC2C4F7-A6C7-42E1-9E33-57BDD42FE1BB}" srcOrd="0" destOrd="0" presId="urn:microsoft.com/office/officeart/2011/layout/CircleProcess"/>
    <dgm:cxn modelId="{687574DF-FCF7-4910-96EF-E18ADE0CDD14}" type="presParOf" srcId="{01461D69-8325-4715-A213-32BD05E4369E}" destId="{15A18C57-FB1C-4EF9-A65C-C6D90FD20D64}" srcOrd="7" destOrd="0" presId="urn:microsoft.com/office/officeart/2011/layout/CircleProcess"/>
    <dgm:cxn modelId="{00656087-39FC-4367-BEF7-66D8E5F34BEA}" type="presParOf" srcId="{15A18C57-FB1C-4EF9-A65C-C6D90FD20D64}" destId="{5F12BD58-F406-4619-AEB7-3AE618B93B0E}" srcOrd="0" destOrd="0" presId="urn:microsoft.com/office/officeart/2011/layout/CircleProcess"/>
    <dgm:cxn modelId="{6563D34A-90F6-4758-928B-1CD062B50BD4}" type="presParOf" srcId="{01461D69-8325-4715-A213-32BD05E4369E}" destId="{9AC408DD-A4D2-41E5-9FC7-D1E2BADB22C0}" srcOrd="8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734352-26FE-44D1-AC67-60605666D55D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51B03EC-70B0-4EA9-AC2B-07D6F38016CD}">
      <dgm:prSet phldrT="[Text]" custT="1"/>
      <dgm:spPr>
        <a:ln>
          <a:solidFill>
            <a:schemeClr val="accent1">
              <a:lumMod val="40000"/>
              <a:lumOff val="60000"/>
            </a:schemeClr>
          </a:solidFill>
        </a:ln>
      </dgm:spPr>
      <dgm:t>
        <a:bodyPr/>
        <a:lstStyle/>
        <a:p>
          <a:r>
            <a:rPr lang="en-US" sz="240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Existing</a:t>
          </a:r>
        </a:p>
      </dgm:t>
    </dgm:pt>
    <dgm:pt modelId="{04A27B3A-894B-4B63-A38B-32A8FCDEBE6F}" type="parTrans" cxnId="{C6C16C71-72E6-4113-A71B-C3D2BF048EC2}">
      <dgm:prSet/>
      <dgm:spPr/>
      <dgm:t>
        <a:bodyPr/>
        <a:lstStyle/>
        <a:p>
          <a:endParaRPr lang="en-US" sz="1600"/>
        </a:p>
      </dgm:t>
    </dgm:pt>
    <dgm:pt modelId="{42578A0D-30C0-46D6-BE03-7ACE27A1F149}" type="sibTrans" cxnId="{C6C16C71-72E6-4113-A71B-C3D2BF048EC2}">
      <dgm:prSet/>
      <dgm:spPr/>
      <dgm:t>
        <a:bodyPr/>
        <a:lstStyle/>
        <a:p>
          <a:endParaRPr lang="en-US" sz="1600"/>
        </a:p>
      </dgm:t>
    </dgm:pt>
    <dgm:pt modelId="{BBFFD069-7DF0-4816-98E9-EA5A963BA128}">
      <dgm:prSet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en-US" sz="2400" b="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New</a:t>
          </a:r>
          <a:endParaRPr lang="en-US" sz="2400" b="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gm:t>
    </dgm:pt>
    <dgm:pt modelId="{8DF74D2F-A80B-42B8-BA34-3DB9628395FF}" type="parTrans" cxnId="{842AE7BE-C9E9-489A-8814-710CC78F3066}">
      <dgm:prSet/>
      <dgm:spPr/>
      <dgm:t>
        <a:bodyPr/>
        <a:lstStyle/>
        <a:p>
          <a:endParaRPr lang="en-US" sz="1600"/>
        </a:p>
      </dgm:t>
    </dgm:pt>
    <dgm:pt modelId="{06859C27-6B47-4D97-9A60-7BBB75A8C602}" type="sibTrans" cxnId="{842AE7BE-C9E9-489A-8814-710CC78F3066}">
      <dgm:prSet/>
      <dgm:spPr/>
      <dgm:t>
        <a:bodyPr/>
        <a:lstStyle/>
        <a:p>
          <a:endParaRPr lang="en-US" sz="1600"/>
        </a:p>
      </dgm:t>
    </dgm:pt>
    <dgm:pt modelId="{5E0A1A6E-B699-434F-A405-6F9A8ECB71B6}">
      <dgm:prSet custT="1"/>
      <dgm:spPr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en-US" sz="2400" b="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Coming Soon</a:t>
          </a:r>
        </a:p>
      </dgm:t>
    </dgm:pt>
    <dgm:pt modelId="{0F9B80E5-9081-42A0-8476-F7E08909FD6C}" type="parTrans" cxnId="{E1A96CDC-6C2E-40D2-8A78-719B71675B14}">
      <dgm:prSet/>
      <dgm:spPr/>
      <dgm:t>
        <a:bodyPr/>
        <a:lstStyle/>
        <a:p>
          <a:endParaRPr lang="en-US" sz="1600"/>
        </a:p>
      </dgm:t>
    </dgm:pt>
    <dgm:pt modelId="{60F1C821-D120-45D7-A6E8-066556D24090}" type="sibTrans" cxnId="{E1A96CDC-6C2E-40D2-8A78-719B71675B14}">
      <dgm:prSet/>
      <dgm:spPr/>
      <dgm:t>
        <a:bodyPr/>
        <a:lstStyle/>
        <a:p>
          <a:endParaRPr lang="en-US" sz="1600"/>
        </a:p>
      </dgm:t>
    </dgm:pt>
    <dgm:pt modelId="{01461D69-8325-4715-A213-32BD05E4369E}" type="pres">
      <dgm:prSet presAssocID="{07734352-26FE-44D1-AC67-60605666D55D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49C05DBF-5A28-4E41-8A40-21B6826C22C4}" type="pres">
      <dgm:prSet presAssocID="{5E0A1A6E-B699-434F-A405-6F9A8ECB71B6}" presName="Accent3" presStyleCnt="0"/>
      <dgm:spPr/>
    </dgm:pt>
    <dgm:pt modelId="{06D635A4-2F91-421C-BC27-C471CDAE3508}" type="pres">
      <dgm:prSet presAssocID="{5E0A1A6E-B699-434F-A405-6F9A8ECB71B6}" presName="Accent" presStyleLbl="node1" presStyleIdx="0" presStyleCnt="3"/>
      <dgm:spPr>
        <a:xfrm>
          <a:off x="6353975" y="1101761"/>
          <a:ext cx="2783387" cy="2783902"/>
        </a:xfrm>
        <a:prstGeom prst="ellipse">
          <a:avLst/>
        </a:prstGeom>
        <a:solidFill>
          <a:srgbClr val="D9D9D9">
            <a:lumMod val="25000"/>
          </a:srgbClr>
        </a:solidFill>
        <a:ln w="12700" cap="flat" cmpd="sng" algn="ctr">
          <a:solidFill>
            <a:srgbClr val="2C2E2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9F47B92C-0527-4BCF-AC01-5030299A63E4}" type="pres">
      <dgm:prSet presAssocID="{5E0A1A6E-B699-434F-A405-6F9A8ECB71B6}" presName="ParentBackground3" presStyleCnt="0"/>
      <dgm:spPr/>
    </dgm:pt>
    <dgm:pt modelId="{5E997710-046F-40C3-ABFF-91503273DCE9}" type="pres">
      <dgm:prSet presAssocID="{5E0A1A6E-B699-434F-A405-6F9A8ECB71B6}" presName="ParentBackground" presStyleLbl="fgAcc1" presStyleIdx="0" presStyleCnt="3"/>
      <dgm:spPr/>
    </dgm:pt>
    <dgm:pt modelId="{324E50FA-D7E8-447C-83C5-6DF5CA239F40}" type="pres">
      <dgm:prSet presAssocID="{5E0A1A6E-B699-434F-A405-6F9A8ECB71B6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49D8F5E4-3053-46A7-941D-1409D96A48CA}" type="pres">
      <dgm:prSet presAssocID="{BBFFD069-7DF0-4816-98E9-EA5A963BA128}" presName="Accent2" presStyleCnt="0"/>
      <dgm:spPr/>
    </dgm:pt>
    <dgm:pt modelId="{AB5EC536-2330-47C8-9C21-2AEED68E11E4}" type="pres">
      <dgm:prSet presAssocID="{BBFFD069-7DF0-4816-98E9-EA5A963BA128}" presName="Accent" presStyleLbl="node1" presStyleIdx="1" presStyleCnt="3"/>
      <dgm:spPr>
        <a:solidFill>
          <a:schemeClr val="accent1">
            <a:lumMod val="75000"/>
          </a:schemeClr>
        </a:solidFill>
      </dgm:spPr>
    </dgm:pt>
    <dgm:pt modelId="{B85D9B91-8001-46E2-ABF8-2115F9C79E41}" type="pres">
      <dgm:prSet presAssocID="{BBFFD069-7DF0-4816-98E9-EA5A963BA128}" presName="ParentBackground2" presStyleCnt="0"/>
      <dgm:spPr/>
    </dgm:pt>
    <dgm:pt modelId="{6409D6DC-F1DF-4815-AC25-544491538311}" type="pres">
      <dgm:prSet presAssocID="{BBFFD069-7DF0-4816-98E9-EA5A963BA128}" presName="ParentBackground" presStyleLbl="fgAcc1" presStyleIdx="1" presStyleCnt="3"/>
      <dgm:spPr/>
    </dgm:pt>
    <dgm:pt modelId="{32452CAF-F01E-4F88-AAD0-A9AF1574CC93}" type="pres">
      <dgm:prSet presAssocID="{BBFFD069-7DF0-4816-98E9-EA5A963BA128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36FA7D97-6B55-4733-BDEA-3F54B5DBCFE5}" type="pres">
      <dgm:prSet presAssocID="{251B03EC-70B0-4EA9-AC2B-07D6F38016CD}" presName="Accent1" presStyleCnt="0"/>
      <dgm:spPr/>
    </dgm:pt>
    <dgm:pt modelId="{7BC2C4F7-A6C7-42E1-9E33-57BDD42FE1BB}" type="pres">
      <dgm:prSet presAssocID="{251B03EC-70B0-4EA9-AC2B-07D6F38016CD}" presName="Accent" presStyleLbl="node1" presStyleIdx="2" presStyleCnt="3"/>
      <dgm:spPr>
        <a:xfrm rot="2700000">
          <a:off x="603905" y="1105127"/>
          <a:ext cx="2776683" cy="2776683"/>
        </a:xfrm>
        <a:prstGeom prst="teardrop">
          <a:avLst>
            <a:gd name="adj" fmla="val 100000"/>
          </a:avLst>
        </a:prstGeom>
        <a:solidFill>
          <a:srgbClr val="D9D9D9">
            <a:lumMod val="25000"/>
          </a:srgbClr>
        </a:solidFill>
        <a:ln w="12700" cap="flat" cmpd="sng" algn="ctr">
          <a:solidFill>
            <a:srgbClr val="2C2E2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15A18C57-FB1C-4EF9-A65C-C6D90FD20D64}" type="pres">
      <dgm:prSet presAssocID="{251B03EC-70B0-4EA9-AC2B-07D6F38016CD}" presName="ParentBackground1" presStyleCnt="0"/>
      <dgm:spPr/>
    </dgm:pt>
    <dgm:pt modelId="{5F12BD58-F406-4619-AEB7-3AE618B93B0E}" type="pres">
      <dgm:prSet presAssocID="{251B03EC-70B0-4EA9-AC2B-07D6F38016CD}" presName="ParentBackground" presStyleLbl="fgAcc1" presStyleIdx="2" presStyleCnt="3"/>
      <dgm:spPr/>
    </dgm:pt>
    <dgm:pt modelId="{9AC408DD-A4D2-41E5-9FC7-D1E2BADB22C0}" type="pres">
      <dgm:prSet presAssocID="{251B03EC-70B0-4EA9-AC2B-07D6F38016CD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2D18E328-AB63-49BF-88C5-2BB923BC5A06}" type="presOf" srcId="{251B03EC-70B0-4EA9-AC2B-07D6F38016CD}" destId="{5F12BD58-F406-4619-AEB7-3AE618B93B0E}" srcOrd="0" destOrd="0" presId="urn:microsoft.com/office/officeart/2011/layout/CircleProcess"/>
    <dgm:cxn modelId="{F4C94160-1847-4A80-AB7F-B07885D7E78F}" type="presOf" srcId="{251B03EC-70B0-4EA9-AC2B-07D6F38016CD}" destId="{9AC408DD-A4D2-41E5-9FC7-D1E2BADB22C0}" srcOrd="1" destOrd="0" presId="urn:microsoft.com/office/officeart/2011/layout/CircleProcess"/>
    <dgm:cxn modelId="{C6C16C71-72E6-4113-A71B-C3D2BF048EC2}" srcId="{07734352-26FE-44D1-AC67-60605666D55D}" destId="{251B03EC-70B0-4EA9-AC2B-07D6F38016CD}" srcOrd="0" destOrd="0" parTransId="{04A27B3A-894B-4B63-A38B-32A8FCDEBE6F}" sibTransId="{42578A0D-30C0-46D6-BE03-7ACE27A1F149}"/>
    <dgm:cxn modelId="{F69E427C-8A42-4BB6-8A99-B52E1FFEEF1E}" type="presOf" srcId="{5E0A1A6E-B699-434F-A405-6F9A8ECB71B6}" destId="{324E50FA-D7E8-447C-83C5-6DF5CA239F40}" srcOrd="1" destOrd="0" presId="urn:microsoft.com/office/officeart/2011/layout/CircleProcess"/>
    <dgm:cxn modelId="{C91FA2A1-670E-46ED-955A-AFB385A37E5D}" type="presOf" srcId="{5E0A1A6E-B699-434F-A405-6F9A8ECB71B6}" destId="{5E997710-046F-40C3-ABFF-91503273DCE9}" srcOrd="0" destOrd="0" presId="urn:microsoft.com/office/officeart/2011/layout/CircleProcess"/>
    <dgm:cxn modelId="{842AE7BE-C9E9-489A-8814-710CC78F3066}" srcId="{07734352-26FE-44D1-AC67-60605666D55D}" destId="{BBFFD069-7DF0-4816-98E9-EA5A963BA128}" srcOrd="1" destOrd="0" parTransId="{8DF74D2F-A80B-42B8-BA34-3DB9628395FF}" sibTransId="{06859C27-6B47-4D97-9A60-7BBB75A8C602}"/>
    <dgm:cxn modelId="{98D17FCC-41C9-41D0-B509-81766ED40C75}" type="presOf" srcId="{BBFFD069-7DF0-4816-98E9-EA5A963BA128}" destId="{32452CAF-F01E-4F88-AAD0-A9AF1574CC93}" srcOrd="1" destOrd="0" presId="urn:microsoft.com/office/officeart/2011/layout/CircleProcess"/>
    <dgm:cxn modelId="{F4871ED3-C8EE-43B3-903A-8ADE15D73973}" type="presOf" srcId="{BBFFD069-7DF0-4816-98E9-EA5A963BA128}" destId="{6409D6DC-F1DF-4815-AC25-544491538311}" srcOrd="0" destOrd="0" presId="urn:microsoft.com/office/officeart/2011/layout/CircleProcess"/>
    <dgm:cxn modelId="{E1A96CDC-6C2E-40D2-8A78-719B71675B14}" srcId="{07734352-26FE-44D1-AC67-60605666D55D}" destId="{5E0A1A6E-B699-434F-A405-6F9A8ECB71B6}" srcOrd="2" destOrd="0" parTransId="{0F9B80E5-9081-42A0-8476-F7E08909FD6C}" sibTransId="{60F1C821-D120-45D7-A6E8-066556D24090}"/>
    <dgm:cxn modelId="{D3347CE8-30C9-4E5F-B31F-896F97342BFB}" type="presOf" srcId="{07734352-26FE-44D1-AC67-60605666D55D}" destId="{01461D69-8325-4715-A213-32BD05E4369E}" srcOrd="0" destOrd="0" presId="urn:microsoft.com/office/officeart/2011/layout/CircleProcess"/>
    <dgm:cxn modelId="{F87AB22A-82A8-4C35-84A1-CD9C88989860}" type="presParOf" srcId="{01461D69-8325-4715-A213-32BD05E4369E}" destId="{49C05DBF-5A28-4E41-8A40-21B6826C22C4}" srcOrd="0" destOrd="0" presId="urn:microsoft.com/office/officeart/2011/layout/CircleProcess"/>
    <dgm:cxn modelId="{BF9BD539-0062-4515-B9F7-892153E70E42}" type="presParOf" srcId="{49C05DBF-5A28-4E41-8A40-21B6826C22C4}" destId="{06D635A4-2F91-421C-BC27-C471CDAE3508}" srcOrd="0" destOrd="0" presId="urn:microsoft.com/office/officeart/2011/layout/CircleProcess"/>
    <dgm:cxn modelId="{AB745996-D317-402E-A51A-DDB5BFB29B58}" type="presParOf" srcId="{01461D69-8325-4715-A213-32BD05E4369E}" destId="{9F47B92C-0527-4BCF-AC01-5030299A63E4}" srcOrd="1" destOrd="0" presId="urn:microsoft.com/office/officeart/2011/layout/CircleProcess"/>
    <dgm:cxn modelId="{317C0B71-6B8D-4BBA-90B8-03D435DD6C14}" type="presParOf" srcId="{9F47B92C-0527-4BCF-AC01-5030299A63E4}" destId="{5E997710-046F-40C3-ABFF-91503273DCE9}" srcOrd="0" destOrd="0" presId="urn:microsoft.com/office/officeart/2011/layout/CircleProcess"/>
    <dgm:cxn modelId="{BE325931-DE47-4A9C-B784-F26E60566A32}" type="presParOf" srcId="{01461D69-8325-4715-A213-32BD05E4369E}" destId="{324E50FA-D7E8-447C-83C5-6DF5CA239F40}" srcOrd="2" destOrd="0" presId="urn:microsoft.com/office/officeart/2011/layout/CircleProcess"/>
    <dgm:cxn modelId="{99623463-F33A-45C4-953E-E5E9833E5883}" type="presParOf" srcId="{01461D69-8325-4715-A213-32BD05E4369E}" destId="{49D8F5E4-3053-46A7-941D-1409D96A48CA}" srcOrd="3" destOrd="0" presId="urn:microsoft.com/office/officeart/2011/layout/CircleProcess"/>
    <dgm:cxn modelId="{0341470F-4B1C-448B-9CCE-4EAE77DC556F}" type="presParOf" srcId="{49D8F5E4-3053-46A7-941D-1409D96A48CA}" destId="{AB5EC536-2330-47C8-9C21-2AEED68E11E4}" srcOrd="0" destOrd="0" presId="urn:microsoft.com/office/officeart/2011/layout/CircleProcess"/>
    <dgm:cxn modelId="{62139A9D-E61C-40CC-A161-A183C1B4C0D0}" type="presParOf" srcId="{01461D69-8325-4715-A213-32BD05E4369E}" destId="{B85D9B91-8001-46E2-ABF8-2115F9C79E41}" srcOrd="4" destOrd="0" presId="urn:microsoft.com/office/officeart/2011/layout/CircleProcess"/>
    <dgm:cxn modelId="{C6A02C1A-8E94-469D-856A-151B5E1C14E1}" type="presParOf" srcId="{B85D9B91-8001-46E2-ABF8-2115F9C79E41}" destId="{6409D6DC-F1DF-4815-AC25-544491538311}" srcOrd="0" destOrd="0" presId="urn:microsoft.com/office/officeart/2011/layout/CircleProcess"/>
    <dgm:cxn modelId="{5952D585-0951-4B4A-A487-9529265B4FA1}" type="presParOf" srcId="{01461D69-8325-4715-A213-32BD05E4369E}" destId="{32452CAF-F01E-4F88-AAD0-A9AF1574CC93}" srcOrd="5" destOrd="0" presId="urn:microsoft.com/office/officeart/2011/layout/CircleProcess"/>
    <dgm:cxn modelId="{C011AF97-4085-44F3-AA38-5A227D4B45C7}" type="presParOf" srcId="{01461D69-8325-4715-A213-32BD05E4369E}" destId="{36FA7D97-6B55-4733-BDEA-3F54B5DBCFE5}" srcOrd="6" destOrd="0" presId="urn:microsoft.com/office/officeart/2011/layout/CircleProcess"/>
    <dgm:cxn modelId="{4288D0F1-BDB4-4C76-9263-B0742BC06C8B}" type="presParOf" srcId="{36FA7D97-6B55-4733-BDEA-3F54B5DBCFE5}" destId="{7BC2C4F7-A6C7-42E1-9E33-57BDD42FE1BB}" srcOrd="0" destOrd="0" presId="urn:microsoft.com/office/officeart/2011/layout/CircleProcess"/>
    <dgm:cxn modelId="{687574DF-FCF7-4910-96EF-E18ADE0CDD14}" type="presParOf" srcId="{01461D69-8325-4715-A213-32BD05E4369E}" destId="{15A18C57-FB1C-4EF9-A65C-C6D90FD20D64}" srcOrd="7" destOrd="0" presId="urn:microsoft.com/office/officeart/2011/layout/CircleProcess"/>
    <dgm:cxn modelId="{00656087-39FC-4367-BEF7-66D8E5F34BEA}" type="presParOf" srcId="{15A18C57-FB1C-4EF9-A65C-C6D90FD20D64}" destId="{5F12BD58-F406-4619-AEB7-3AE618B93B0E}" srcOrd="0" destOrd="0" presId="urn:microsoft.com/office/officeart/2011/layout/CircleProcess"/>
    <dgm:cxn modelId="{6563D34A-90F6-4758-928B-1CD062B50BD4}" type="presParOf" srcId="{01461D69-8325-4715-A213-32BD05E4369E}" destId="{9AC408DD-A4D2-41E5-9FC7-D1E2BADB22C0}" srcOrd="8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734352-26FE-44D1-AC67-60605666D55D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51B03EC-70B0-4EA9-AC2B-07D6F38016CD}">
      <dgm:prSet phldrT="[Text]" custT="1"/>
      <dgm:spPr>
        <a:ln>
          <a:solidFill>
            <a:schemeClr val="accent1">
              <a:lumMod val="40000"/>
              <a:lumOff val="60000"/>
            </a:schemeClr>
          </a:solidFill>
        </a:ln>
      </dgm:spPr>
      <dgm:t>
        <a:bodyPr/>
        <a:lstStyle/>
        <a:p>
          <a:r>
            <a:rPr lang="en-US" sz="240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Existing</a:t>
          </a:r>
        </a:p>
      </dgm:t>
    </dgm:pt>
    <dgm:pt modelId="{04A27B3A-894B-4B63-A38B-32A8FCDEBE6F}" type="parTrans" cxnId="{C6C16C71-72E6-4113-A71B-C3D2BF048EC2}">
      <dgm:prSet/>
      <dgm:spPr/>
      <dgm:t>
        <a:bodyPr/>
        <a:lstStyle/>
        <a:p>
          <a:endParaRPr lang="en-US" sz="1600"/>
        </a:p>
      </dgm:t>
    </dgm:pt>
    <dgm:pt modelId="{42578A0D-30C0-46D6-BE03-7ACE27A1F149}" type="sibTrans" cxnId="{C6C16C71-72E6-4113-A71B-C3D2BF048EC2}">
      <dgm:prSet/>
      <dgm:spPr/>
      <dgm:t>
        <a:bodyPr/>
        <a:lstStyle/>
        <a:p>
          <a:endParaRPr lang="en-US" sz="1600"/>
        </a:p>
      </dgm:t>
    </dgm:pt>
    <dgm:pt modelId="{BBFFD069-7DF0-4816-98E9-EA5A963BA128}">
      <dgm:prSet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en-US" sz="2400" b="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New</a:t>
          </a:r>
        </a:p>
      </dgm:t>
    </dgm:pt>
    <dgm:pt modelId="{8DF74D2F-A80B-42B8-BA34-3DB9628395FF}" type="parTrans" cxnId="{842AE7BE-C9E9-489A-8814-710CC78F3066}">
      <dgm:prSet/>
      <dgm:spPr/>
      <dgm:t>
        <a:bodyPr/>
        <a:lstStyle/>
        <a:p>
          <a:endParaRPr lang="en-US" sz="1600"/>
        </a:p>
      </dgm:t>
    </dgm:pt>
    <dgm:pt modelId="{06859C27-6B47-4D97-9A60-7BBB75A8C602}" type="sibTrans" cxnId="{842AE7BE-C9E9-489A-8814-710CC78F3066}">
      <dgm:prSet/>
      <dgm:spPr/>
      <dgm:t>
        <a:bodyPr/>
        <a:lstStyle/>
        <a:p>
          <a:endParaRPr lang="en-US" sz="1600"/>
        </a:p>
      </dgm:t>
    </dgm:pt>
    <dgm:pt modelId="{5E0A1A6E-B699-434F-A405-6F9A8ECB71B6}">
      <dgm:prSet custT="1"/>
      <dgm:spPr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en-US" sz="2400" b="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Coming Soon</a:t>
          </a:r>
          <a:endParaRPr lang="en-US" sz="2400" b="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gm:t>
    </dgm:pt>
    <dgm:pt modelId="{0F9B80E5-9081-42A0-8476-F7E08909FD6C}" type="parTrans" cxnId="{E1A96CDC-6C2E-40D2-8A78-719B71675B14}">
      <dgm:prSet/>
      <dgm:spPr/>
      <dgm:t>
        <a:bodyPr/>
        <a:lstStyle/>
        <a:p>
          <a:endParaRPr lang="en-US" sz="1600"/>
        </a:p>
      </dgm:t>
    </dgm:pt>
    <dgm:pt modelId="{60F1C821-D120-45D7-A6E8-066556D24090}" type="sibTrans" cxnId="{E1A96CDC-6C2E-40D2-8A78-719B71675B14}">
      <dgm:prSet/>
      <dgm:spPr/>
      <dgm:t>
        <a:bodyPr/>
        <a:lstStyle/>
        <a:p>
          <a:endParaRPr lang="en-US" sz="1600"/>
        </a:p>
      </dgm:t>
    </dgm:pt>
    <dgm:pt modelId="{01461D69-8325-4715-A213-32BD05E4369E}" type="pres">
      <dgm:prSet presAssocID="{07734352-26FE-44D1-AC67-60605666D55D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49C05DBF-5A28-4E41-8A40-21B6826C22C4}" type="pres">
      <dgm:prSet presAssocID="{5E0A1A6E-B699-434F-A405-6F9A8ECB71B6}" presName="Accent3" presStyleCnt="0"/>
      <dgm:spPr/>
    </dgm:pt>
    <dgm:pt modelId="{06D635A4-2F91-421C-BC27-C471CDAE3508}" type="pres">
      <dgm:prSet presAssocID="{5E0A1A6E-B699-434F-A405-6F9A8ECB71B6}" presName="Accent" presStyleLbl="node1" presStyleIdx="0" presStyleCnt="3"/>
      <dgm:spPr>
        <a:solidFill>
          <a:schemeClr val="accent1">
            <a:lumMod val="50000"/>
          </a:schemeClr>
        </a:solidFill>
      </dgm:spPr>
    </dgm:pt>
    <dgm:pt modelId="{9F47B92C-0527-4BCF-AC01-5030299A63E4}" type="pres">
      <dgm:prSet presAssocID="{5E0A1A6E-B699-434F-A405-6F9A8ECB71B6}" presName="ParentBackground3" presStyleCnt="0"/>
      <dgm:spPr/>
    </dgm:pt>
    <dgm:pt modelId="{5E997710-046F-40C3-ABFF-91503273DCE9}" type="pres">
      <dgm:prSet presAssocID="{5E0A1A6E-B699-434F-A405-6F9A8ECB71B6}" presName="ParentBackground" presStyleLbl="fgAcc1" presStyleIdx="0" presStyleCnt="3"/>
      <dgm:spPr/>
    </dgm:pt>
    <dgm:pt modelId="{324E50FA-D7E8-447C-83C5-6DF5CA239F40}" type="pres">
      <dgm:prSet presAssocID="{5E0A1A6E-B699-434F-A405-6F9A8ECB71B6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49D8F5E4-3053-46A7-941D-1409D96A48CA}" type="pres">
      <dgm:prSet presAssocID="{BBFFD069-7DF0-4816-98E9-EA5A963BA128}" presName="Accent2" presStyleCnt="0"/>
      <dgm:spPr/>
    </dgm:pt>
    <dgm:pt modelId="{AB5EC536-2330-47C8-9C21-2AEED68E11E4}" type="pres">
      <dgm:prSet presAssocID="{BBFFD069-7DF0-4816-98E9-EA5A963BA128}" presName="Accent" presStyleLbl="node1" presStyleIdx="1" presStyleCnt="3"/>
      <dgm:spPr>
        <a:xfrm rot="2700000">
          <a:off x="3480616" y="1105127"/>
          <a:ext cx="2776683" cy="2776683"/>
        </a:xfrm>
        <a:prstGeom prst="teardrop">
          <a:avLst>
            <a:gd name="adj" fmla="val 100000"/>
          </a:avLst>
        </a:prstGeom>
        <a:solidFill>
          <a:srgbClr val="D9D9D9">
            <a:lumMod val="25000"/>
          </a:srgbClr>
        </a:solidFill>
        <a:ln w="12700" cap="flat" cmpd="sng" algn="ctr">
          <a:solidFill>
            <a:srgbClr val="2C2E2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B85D9B91-8001-46E2-ABF8-2115F9C79E41}" type="pres">
      <dgm:prSet presAssocID="{BBFFD069-7DF0-4816-98E9-EA5A963BA128}" presName="ParentBackground2" presStyleCnt="0"/>
      <dgm:spPr/>
    </dgm:pt>
    <dgm:pt modelId="{6409D6DC-F1DF-4815-AC25-544491538311}" type="pres">
      <dgm:prSet presAssocID="{BBFFD069-7DF0-4816-98E9-EA5A963BA128}" presName="ParentBackground" presStyleLbl="fgAcc1" presStyleIdx="1" presStyleCnt="3"/>
      <dgm:spPr/>
    </dgm:pt>
    <dgm:pt modelId="{32452CAF-F01E-4F88-AAD0-A9AF1574CC93}" type="pres">
      <dgm:prSet presAssocID="{BBFFD069-7DF0-4816-98E9-EA5A963BA128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36FA7D97-6B55-4733-BDEA-3F54B5DBCFE5}" type="pres">
      <dgm:prSet presAssocID="{251B03EC-70B0-4EA9-AC2B-07D6F38016CD}" presName="Accent1" presStyleCnt="0"/>
      <dgm:spPr/>
    </dgm:pt>
    <dgm:pt modelId="{7BC2C4F7-A6C7-42E1-9E33-57BDD42FE1BB}" type="pres">
      <dgm:prSet presAssocID="{251B03EC-70B0-4EA9-AC2B-07D6F38016CD}" presName="Accent" presStyleLbl="node1" presStyleIdx="2" presStyleCnt="3"/>
      <dgm:spPr>
        <a:xfrm rot="2700000">
          <a:off x="603905" y="1105127"/>
          <a:ext cx="2776683" cy="2776683"/>
        </a:xfrm>
        <a:prstGeom prst="teardrop">
          <a:avLst>
            <a:gd name="adj" fmla="val 100000"/>
          </a:avLst>
        </a:prstGeom>
        <a:solidFill>
          <a:srgbClr val="D9D9D9">
            <a:lumMod val="25000"/>
          </a:srgbClr>
        </a:solidFill>
        <a:ln w="12700" cap="flat" cmpd="sng" algn="ctr">
          <a:solidFill>
            <a:srgbClr val="2C2E2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15A18C57-FB1C-4EF9-A65C-C6D90FD20D64}" type="pres">
      <dgm:prSet presAssocID="{251B03EC-70B0-4EA9-AC2B-07D6F38016CD}" presName="ParentBackground1" presStyleCnt="0"/>
      <dgm:spPr/>
    </dgm:pt>
    <dgm:pt modelId="{5F12BD58-F406-4619-AEB7-3AE618B93B0E}" type="pres">
      <dgm:prSet presAssocID="{251B03EC-70B0-4EA9-AC2B-07D6F38016CD}" presName="ParentBackground" presStyleLbl="fgAcc1" presStyleIdx="2" presStyleCnt="3"/>
      <dgm:spPr/>
    </dgm:pt>
    <dgm:pt modelId="{9AC408DD-A4D2-41E5-9FC7-D1E2BADB22C0}" type="pres">
      <dgm:prSet presAssocID="{251B03EC-70B0-4EA9-AC2B-07D6F38016CD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2D18E328-AB63-49BF-88C5-2BB923BC5A06}" type="presOf" srcId="{251B03EC-70B0-4EA9-AC2B-07D6F38016CD}" destId="{5F12BD58-F406-4619-AEB7-3AE618B93B0E}" srcOrd="0" destOrd="0" presId="urn:microsoft.com/office/officeart/2011/layout/CircleProcess"/>
    <dgm:cxn modelId="{F4C94160-1847-4A80-AB7F-B07885D7E78F}" type="presOf" srcId="{251B03EC-70B0-4EA9-AC2B-07D6F38016CD}" destId="{9AC408DD-A4D2-41E5-9FC7-D1E2BADB22C0}" srcOrd="1" destOrd="0" presId="urn:microsoft.com/office/officeart/2011/layout/CircleProcess"/>
    <dgm:cxn modelId="{C6C16C71-72E6-4113-A71B-C3D2BF048EC2}" srcId="{07734352-26FE-44D1-AC67-60605666D55D}" destId="{251B03EC-70B0-4EA9-AC2B-07D6F38016CD}" srcOrd="0" destOrd="0" parTransId="{04A27B3A-894B-4B63-A38B-32A8FCDEBE6F}" sibTransId="{42578A0D-30C0-46D6-BE03-7ACE27A1F149}"/>
    <dgm:cxn modelId="{F69E427C-8A42-4BB6-8A99-B52E1FFEEF1E}" type="presOf" srcId="{5E0A1A6E-B699-434F-A405-6F9A8ECB71B6}" destId="{324E50FA-D7E8-447C-83C5-6DF5CA239F40}" srcOrd="1" destOrd="0" presId="urn:microsoft.com/office/officeart/2011/layout/CircleProcess"/>
    <dgm:cxn modelId="{C91FA2A1-670E-46ED-955A-AFB385A37E5D}" type="presOf" srcId="{5E0A1A6E-B699-434F-A405-6F9A8ECB71B6}" destId="{5E997710-046F-40C3-ABFF-91503273DCE9}" srcOrd="0" destOrd="0" presId="urn:microsoft.com/office/officeart/2011/layout/CircleProcess"/>
    <dgm:cxn modelId="{842AE7BE-C9E9-489A-8814-710CC78F3066}" srcId="{07734352-26FE-44D1-AC67-60605666D55D}" destId="{BBFFD069-7DF0-4816-98E9-EA5A963BA128}" srcOrd="1" destOrd="0" parTransId="{8DF74D2F-A80B-42B8-BA34-3DB9628395FF}" sibTransId="{06859C27-6B47-4D97-9A60-7BBB75A8C602}"/>
    <dgm:cxn modelId="{98D17FCC-41C9-41D0-B509-81766ED40C75}" type="presOf" srcId="{BBFFD069-7DF0-4816-98E9-EA5A963BA128}" destId="{32452CAF-F01E-4F88-AAD0-A9AF1574CC93}" srcOrd="1" destOrd="0" presId="urn:microsoft.com/office/officeart/2011/layout/CircleProcess"/>
    <dgm:cxn modelId="{F4871ED3-C8EE-43B3-903A-8ADE15D73973}" type="presOf" srcId="{BBFFD069-7DF0-4816-98E9-EA5A963BA128}" destId="{6409D6DC-F1DF-4815-AC25-544491538311}" srcOrd="0" destOrd="0" presId="urn:microsoft.com/office/officeart/2011/layout/CircleProcess"/>
    <dgm:cxn modelId="{E1A96CDC-6C2E-40D2-8A78-719B71675B14}" srcId="{07734352-26FE-44D1-AC67-60605666D55D}" destId="{5E0A1A6E-B699-434F-A405-6F9A8ECB71B6}" srcOrd="2" destOrd="0" parTransId="{0F9B80E5-9081-42A0-8476-F7E08909FD6C}" sibTransId="{60F1C821-D120-45D7-A6E8-066556D24090}"/>
    <dgm:cxn modelId="{D3347CE8-30C9-4E5F-B31F-896F97342BFB}" type="presOf" srcId="{07734352-26FE-44D1-AC67-60605666D55D}" destId="{01461D69-8325-4715-A213-32BD05E4369E}" srcOrd="0" destOrd="0" presId="urn:microsoft.com/office/officeart/2011/layout/CircleProcess"/>
    <dgm:cxn modelId="{F87AB22A-82A8-4C35-84A1-CD9C88989860}" type="presParOf" srcId="{01461D69-8325-4715-A213-32BD05E4369E}" destId="{49C05DBF-5A28-4E41-8A40-21B6826C22C4}" srcOrd="0" destOrd="0" presId="urn:microsoft.com/office/officeart/2011/layout/CircleProcess"/>
    <dgm:cxn modelId="{BF9BD539-0062-4515-B9F7-892153E70E42}" type="presParOf" srcId="{49C05DBF-5A28-4E41-8A40-21B6826C22C4}" destId="{06D635A4-2F91-421C-BC27-C471CDAE3508}" srcOrd="0" destOrd="0" presId="urn:microsoft.com/office/officeart/2011/layout/CircleProcess"/>
    <dgm:cxn modelId="{AB745996-D317-402E-A51A-DDB5BFB29B58}" type="presParOf" srcId="{01461D69-8325-4715-A213-32BD05E4369E}" destId="{9F47B92C-0527-4BCF-AC01-5030299A63E4}" srcOrd="1" destOrd="0" presId="urn:microsoft.com/office/officeart/2011/layout/CircleProcess"/>
    <dgm:cxn modelId="{317C0B71-6B8D-4BBA-90B8-03D435DD6C14}" type="presParOf" srcId="{9F47B92C-0527-4BCF-AC01-5030299A63E4}" destId="{5E997710-046F-40C3-ABFF-91503273DCE9}" srcOrd="0" destOrd="0" presId="urn:microsoft.com/office/officeart/2011/layout/CircleProcess"/>
    <dgm:cxn modelId="{BE325931-DE47-4A9C-B784-F26E60566A32}" type="presParOf" srcId="{01461D69-8325-4715-A213-32BD05E4369E}" destId="{324E50FA-D7E8-447C-83C5-6DF5CA239F40}" srcOrd="2" destOrd="0" presId="urn:microsoft.com/office/officeart/2011/layout/CircleProcess"/>
    <dgm:cxn modelId="{99623463-F33A-45C4-953E-E5E9833E5883}" type="presParOf" srcId="{01461D69-8325-4715-A213-32BD05E4369E}" destId="{49D8F5E4-3053-46A7-941D-1409D96A48CA}" srcOrd="3" destOrd="0" presId="urn:microsoft.com/office/officeart/2011/layout/CircleProcess"/>
    <dgm:cxn modelId="{0341470F-4B1C-448B-9CCE-4EAE77DC556F}" type="presParOf" srcId="{49D8F5E4-3053-46A7-941D-1409D96A48CA}" destId="{AB5EC536-2330-47C8-9C21-2AEED68E11E4}" srcOrd="0" destOrd="0" presId="urn:microsoft.com/office/officeart/2011/layout/CircleProcess"/>
    <dgm:cxn modelId="{62139A9D-E61C-40CC-A161-A183C1B4C0D0}" type="presParOf" srcId="{01461D69-8325-4715-A213-32BD05E4369E}" destId="{B85D9B91-8001-46E2-ABF8-2115F9C79E41}" srcOrd="4" destOrd="0" presId="urn:microsoft.com/office/officeart/2011/layout/CircleProcess"/>
    <dgm:cxn modelId="{C6A02C1A-8E94-469D-856A-151B5E1C14E1}" type="presParOf" srcId="{B85D9B91-8001-46E2-ABF8-2115F9C79E41}" destId="{6409D6DC-F1DF-4815-AC25-544491538311}" srcOrd="0" destOrd="0" presId="urn:microsoft.com/office/officeart/2011/layout/CircleProcess"/>
    <dgm:cxn modelId="{5952D585-0951-4B4A-A487-9529265B4FA1}" type="presParOf" srcId="{01461D69-8325-4715-A213-32BD05E4369E}" destId="{32452CAF-F01E-4F88-AAD0-A9AF1574CC93}" srcOrd="5" destOrd="0" presId="urn:microsoft.com/office/officeart/2011/layout/CircleProcess"/>
    <dgm:cxn modelId="{C011AF97-4085-44F3-AA38-5A227D4B45C7}" type="presParOf" srcId="{01461D69-8325-4715-A213-32BD05E4369E}" destId="{36FA7D97-6B55-4733-BDEA-3F54B5DBCFE5}" srcOrd="6" destOrd="0" presId="urn:microsoft.com/office/officeart/2011/layout/CircleProcess"/>
    <dgm:cxn modelId="{4288D0F1-BDB4-4C76-9263-B0742BC06C8B}" type="presParOf" srcId="{36FA7D97-6B55-4733-BDEA-3F54B5DBCFE5}" destId="{7BC2C4F7-A6C7-42E1-9E33-57BDD42FE1BB}" srcOrd="0" destOrd="0" presId="urn:microsoft.com/office/officeart/2011/layout/CircleProcess"/>
    <dgm:cxn modelId="{687574DF-FCF7-4910-96EF-E18ADE0CDD14}" type="presParOf" srcId="{01461D69-8325-4715-A213-32BD05E4369E}" destId="{15A18C57-FB1C-4EF9-A65C-C6D90FD20D64}" srcOrd="7" destOrd="0" presId="urn:microsoft.com/office/officeart/2011/layout/CircleProcess"/>
    <dgm:cxn modelId="{00656087-39FC-4367-BEF7-66D8E5F34BEA}" type="presParOf" srcId="{15A18C57-FB1C-4EF9-A65C-C6D90FD20D64}" destId="{5F12BD58-F406-4619-AEB7-3AE618B93B0E}" srcOrd="0" destOrd="0" presId="urn:microsoft.com/office/officeart/2011/layout/CircleProcess"/>
    <dgm:cxn modelId="{6563D34A-90F6-4758-928B-1CD062B50BD4}" type="presParOf" srcId="{01461D69-8325-4715-A213-32BD05E4369E}" destId="{9AC408DD-A4D2-41E5-9FC7-D1E2BADB22C0}" srcOrd="8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3FA571-6799-4CCE-9146-67FBAFEDC4BB}">
      <dsp:nvSpPr>
        <dsp:cNvPr id="0" name=""/>
        <dsp:cNvSpPr/>
      </dsp:nvSpPr>
      <dsp:spPr>
        <a:xfrm>
          <a:off x="1" y="0"/>
          <a:ext cx="4080081" cy="301487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3021" tIns="0" rIns="403021" bIns="33020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Futura Std Book"/>
              <a:cs typeface="Arial" panose="020B0604020202020204" pitchFamily="34" charset="0"/>
            </a:rPr>
            <a:t>The </a:t>
          </a:r>
          <a:r>
            <a:rPr lang="en-US" sz="2400" b="1" kern="1200" dirty="0">
              <a:latin typeface="Futura Std Book"/>
              <a:cs typeface="Arial" panose="020B0604020202020204" pitchFamily="34" charset="0"/>
            </a:rPr>
            <a:t>changing reporting requirements </a:t>
          </a:r>
          <a:r>
            <a:rPr lang="en-US" sz="2400" kern="1200" dirty="0">
              <a:latin typeface="Futura Std Book"/>
              <a:cs typeface="Arial" panose="020B0604020202020204" pitchFamily="34" charset="0"/>
            </a:rPr>
            <a:t>that make our lives harder</a:t>
          </a:r>
          <a:endParaRPr lang="en-US" sz="2400" kern="1200" dirty="0">
            <a:latin typeface="Futura Std Book"/>
          </a:endParaRPr>
        </a:p>
      </dsp:txBody>
      <dsp:txXfrm>
        <a:off x="1" y="1205947"/>
        <a:ext cx="4080081" cy="1808922"/>
      </dsp:txXfrm>
    </dsp:sp>
    <dsp:sp modelId="{E0AFE779-A6A1-4E56-9987-D67A0BD814BF}">
      <dsp:nvSpPr>
        <dsp:cNvPr id="0" name=""/>
        <dsp:cNvSpPr/>
      </dsp:nvSpPr>
      <dsp:spPr>
        <a:xfrm>
          <a:off x="2653" y="0"/>
          <a:ext cx="4080081" cy="1205948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3021" tIns="165100" rIns="403021" bIns="165100" numCol="1" spcCol="1270" anchor="ctr" anchorCtr="0">
          <a:noAutofit/>
        </a:bodyPr>
        <a:lstStyle/>
        <a:p>
          <a:pPr marL="0" lvl="0" indent="0" algn="l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400" kern="1200" dirty="0">
              <a:latin typeface="Futura Std Book"/>
            </a:rPr>
            <a:t>01</a:t>
          </a:r>
        </a:p>
      </dsp:txBody>
      <dsp:txXfrm>
        <a:off x="2653" y="0"/>
        <a:ext cx="4080081" cy="1205948"/>
      </dsp:txXfrm>
    </dsp:sp>
    <dsp:sp modelId="{319DC7AA-5C9A-4B2A-8086-79095DF9A2F2}">
      <dsp:nvSpPr>
        <dsp:cNvPr id="0" name=""/>
        <dsp:cNvSpPr/>
      </dsp:nvSpPr>
      <dsp:spPr>
        <a:xfrm>
          <a:off x="4411795" y="0"/>
          <a:ext cx="4080081" cy="3014870"/>
        </a:xfrm>
        <a:prstGeom prst="rect">
          <a:avLst/>
        </a:prstGeom>
        <a:solidFill>
          <a:schemeClr val="accent2">
            <a:hueOff val="-1979973"/>
            <a:satOff val="70197"/>
            <a:lumOff val="-17058"/>
            <a:alphaOff val="0"/>
          </a:schemeClr>
        </a:solidFill>
        <a:ln w="12700" cap="flat" cmpd="sng" algn="ctr">
          <a:solidFill>
            <a:schemeClr val="accent2">
              <a:hueOff val="-1979973"/>
              <a:satOff val="70197"/>
              <a:lumOff val="-1705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3021" tIns="0" rIns="403021" bIns="33020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Futura Std Book"/>
            </a:rPr>
            <a:t>The ingredients of a </a:t>
          </a:r>
          <a:r>
            <a:rPr lang="en-US" sz="2400" b="1" kern="1200" dirty="0">
              <a:latin typeface="Futura Std Book"/>
            </a:rPr>
            <a:t>reporting engine </a:t>
          </a:r>
          <a:r>
            <a:rPr lang="en-US" sz="2400" kern="1200" dirty="0">
              <a:latin typeface="Futura Std Book"/>
            </a:rPr>
            <a:t>that will make our lives easier</a:t>
          </a:r>
        </a:p>
      </dsp:txBody>
      <dsp:txXfrm>
        <a:off x="4411795" y="1205948"/>
        <a:ext cx="4080081" cy="1808922"/>
      </dsp:txXfrm>
    </dsp:sp>
    <dsp:sp modelId="{019CBD6C-5FCE-4B20-8B84-985B0EEC8A29}">
      <dsp:nvSpPr>
        <dsp:cNvPr id="0" name=""/>
        <dsp:cNvSpPr/>
      </dsp:nvSpPr>
      <dsp:spPr>
        <a:xfrm>
          <a:off x="4409141" y="0"/>
          <a:ext cx="4080081" cy="1205948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3021" tIns="165100" rIns="403021" bIns="165100" numCol="1" spcCol="1270" anchor="ctr" anchorCtr="0">
          <a:noAutofit/>
        </a:bodyPr>
        <a:lstStyle/>
        <a:p>
          <a:pPr marL="0" lvl="0" indent="0" algn="l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400" kern="1200" dirty="0">
              <a:latin typeface="Futura Std Book"/>
            </a:rPr>
            <a:t>02</a:t>
          </a:r>
        </a:p>
      </dsp:txBody>
      <dsp:txXfrm>
        <a:off x="4409141" y="0"/>
        <a:ext cx="4080081" cy="120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D635A4-2F91-421C-BC27-C471CDAE3508}">
      <dsp:nvSpPr>
        <dsp:cNvPr id="0" name=""/>
        <dsp:cNvSpPr/>
      </dsp:nvSpPr>
      <dsp:spPr>
        <a:xfrm>
          <a:off x="6353975" y="1101761"/>
          <a:ext cx="2783387" cy="2783902"/>
        </a:xfrm>
        <a:prstGeom prst="ellipse">
          <a:avLst/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997710-046F-40C3-ABFF-91503273DCE9}">
      <dsp:nvSpPr>
        <dsp:cNvPr id="0" name=""/>
        <dsp:cNvSpPr/>
      </dsp:nvSpPr>
      <dsp:spPr>
        <a:xfrm>
          <a:off x="6446392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Coming Soon</a:t>
          </a:r>
          <a:endParaRPr lang="en-US" sz="2400" b="0" kern="120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sp:txBody>
      <dsp:txXfrm>
        <a:off x="6817872" y="1565827"/>
        <a:ext cx="1855591" cy="1855772"/>
      </dsp:txXfrm>
    </dsp:sp>
    <dsp:sp modelId="{AB5EC536-2330-47C8-9C21-2AEED68E11E4}">
      <dsp:nvSpPr>
        <dsp:cNvPr id="0" name=""/>
        <dsp:cNvSpPr/>
      </dsp:nvSpPr>
      <dsp:spPr>
        <a:xfrm rot="2700000">
          <a:off x="3480616" y="1105127"/>
          <a:ext cx="2776683" cy="2776683"/>
        </a:xfrm>
        <a:prstGeom prst="teardrop">
          <a:avLst>
            <a:gd name="adj" fmla="val 10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09D6DC-F1DF-4815-AC25-544491538311}">
      <dsp:nvSpPr>
        <dsp:cNvPr id="0" name=""/>
        <dsp:cNvSpPr/>
      </dsp:nvSpPr>
      <dsp:spPr>
        <a:xfrm>
          <a:off x="3569681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New</a:t>
          </a:r>
          <a:endParaRPr lang="en-US" sz="2400" b="0" kern="120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sp:txBody>
      <dsp:txXfrm>
        <a:off x="3941162" y="1565827"/>
        <a:ext cx="1855591" cy="1855772"/>
      </dsp:txXfrm>
    </dsp:sp>
    <dsp:sp modelId="{7BC2C4F7-A6C7-42E1-9E33-57BDD42FE1BB}">
      <dsp:nvSpPr>
        <dsp:cNvPr id="0" name=""/>
        <dsp:cNvSpPr/>
      </dsp:nvSpPr>
      <dsp:spPr>
        <a:xfrm rot="2700000">
          <a:off x="603905" y="1105127"/>
          <a:ext cx="2776683" cy="2776683"/>
        </a:xfrm>
        <a:prstGeom prst="teardrop">
          <a:avLst>
            <a:gd name="adj" fmla="val 10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12BD58-F406-4619-AEB7-3AE618B93B0E}">
      <dsp:nvSpPr>
        <dsp:cNvPr id="0" name=""/>
        <dsp:cNvSpPr/>
      </dsp:nvSpPr>
      <dsp:spPr>
        <a:xfrm>
          <a:off x="692970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40000"/>
              <a:lumOff val="6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Existing</a:t>
          </a:r>
          <a:endParaRPr lang="en-US" sz="2400" kern="120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sp:txBody>
      <dsp:txXfrm>
        <a:off x="1064451" y="1565827"/>
        <a:ext cx="1855591" cy="185577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D635A4-2F91-421C-BC27-C471CDAE3508}">
      <dsp:nvSpPr>
        <dsp:cNvPr id="0" name=""/>
        <dsp:cNvSpPr/>
      </dsp:nvSpPr>
      <dsp:spPr>
        <a:xfrm>
          <a:off x="6353975" y="1101761"/>
          <a:ext cx="2783387" cy="2783902"/>
        </a:xfrm>
        <a:prstGeom prst="ellipse">
          <a:avLst/>
        </a:prstGeom>
        <a:solidFill>
          <a:schemeClr val="accent4">
            <a:lumMod val="2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997710-046F-40C3-ABFF-91503273DCE9}">
      <dsp:nvSpPr>
        <dsp:cNvPr id="0" name=""/>
        <dsp:cNvSpPr/>
      </dsp:nvSpPr>
      <dsp:spPr>
        <a:xfrm>
          <a:off x="6446392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Coming Soon</a:t>
          </a:r>
        </a:p>
      </dsp:txBody>
      <dsp:txXfrm>
        <a:off x="6817872" y="1565827"/>
        <a:ext cx="1855591" cy="1855772"/>
      </dsp:txXfrm>
    </dsp:sp>
    <dsp:sp modelId="{AB5EC536-2330-47C8-9C21-2AEED68E11E4}">
      <dsp:nvSpPr>
        <dsp:cNvPr id="0" name=""/>
        <dsp:cNvSpPr/>
      </dsp:nvSpPr>
      <dsp:spPr>
        <a:xfrm rot="2700000">
          <a:off x="3480616" y="1105127"/>
          <a:ext cx="2776683" cy="2776683"/>
        </a:xfrm>
        <a:prstGeom prst="teardrop">
          <a:avLst>
            <a:gd name="adj" fmla="val 100000"/>
          </a:avLst>
        </a:prstGeom>
        <a:solidFill>
          <a:schemeClr val="accent4">
            <a:lumMod val="2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09D6DC-F1DF-4815-AC25-544491538311}">
      <dsp:nvSpPr>
        <dsp:cNvPr id="0" name=""/>
        <dsp:cNvSpPr/>
      </dsp:nvSpPr>
      <dsp:spPr>
        <a:xfrm>
          <a:off x="3569681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New</a:t>
          </a:r>
        </a:p>
      </dsp:txBody>
      <dsp:txXfrm>
        <a:off x="3941162" y="1565827"/>
        <a:ext cx="1855591" cy="1855772"/>
      </dsp:txXfrm>
    </dsp:sp>
    <dsp:sp modelId="{7BC2C4F7-A6C7-42E1-9E33-57BDD42FE1BB}">
      <dsp:nvSpPr>
        <dsp:cNvPr id="0" name=""/>
        <dsp:cNvSpPr/>
      </dsp:nvSpPr>
      <dsp:spPr>
        <a:xfrm rot="2700000">
          <a:off x="603905" y="1105127"/>
          <a:ext cx="2776683" cy="2776683"/>
        </a:xfrm>
        <a:prstGeom prst="teardrop">
          <a:avLst>
            <a:gd name="adj" fmla="val 10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12BD58-F406-4619-AEB7-3AE618B93B0E}">
      <dsp:nvSpPr>
        <dsp:cNvPr id="0" name=""/>
        <dsp:cNvSpPr/>
      </dsp:nvSpPr>
      <dsp:spPr>
        <a:xfrm>
          <a:off x="692970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40000"/>
              <a:lumOff val="6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Existing</a:t>
          </a:r>
          <a:endParaRPr lang="en-US" sz="2400" kern="120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sp:txBody>
      <dsp:txXfrm>
        <a:off x="1064451" y="1565827"/>
        <a:ext cx="1855591" cy="18557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D635A4-2F91-421C-BC27-C471CDAE3508}">
      <dsp:nvSpPr>
        <dsp:cNvPr id="0" name=""/>
        <dsp:cNvSpPr/>
      </dsp:nvSpPr>
      <dsp:spPr>
        <a:xfrm>
          <a:off x="6353975" y="1101761"/>
          <a:ext cx="2783387" cy="2783902"/>
        </a:xfrm>
        <a:prstGeom prst="ellipse">
          <a:avLst/>
        </a:prstGeom>
        <a:solidFill>
          <a:srgbClr val="D9D9D9">
            <a:lumMod val="25000"/>
          </a:srgbClr>
        </a:solidFill>
        <a:ln w="12700" cap="flat" cmpd="sng" algn="ctr">
          <a:solidFill>
            <a:srgbClr val="2C2E2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997710-046F-40C3-ABFF-91503273DCE9}">
      <dsp:nvSpPr>
        <dsp:cNvPr id="0" name=""/>
        <dsp:cNvSpPr/>
      </dsp:nvSpPr>
      <dsp:spPr>
        <a:xfrm>
          <a:off x="6446392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Coming Soon</a:t>
          </a:r>
        </a:p>
      </dsp:txBody>
      <dsp:txXfrm>
        <a:off x="6817872" y="1565827"/>
        <a:ext cx="1855591" cy="1855772"/>
      </dsp:txXfrm>
    </dsp:sp>
    <dsp:sp modelId="{AB5EC536-2330-47C8-9C21-2AEED68E11E4}">
      <dsp:nvSpPr>
        <dsp:cNvPr id="0" name=""/>
        <dsp:cNvSpPr/>
      </dsp:nvSpPr>
      <dsp:spPr>
        <a:xfrm rot="2700000">
          <a:off x="3480616" y="1105127"/>
          <a:ext cx="2776683" cy="2776683"/>
        </a:xfrm>
        <a:prstGeom prst="teardrop">
          <a:avLst>
            <a:gd name="adj" fmla="val 10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09D6DC-F1DF-4815-AC25-544491538311}">
      <dsp:nvSpPr>
        <dsp:cNvPr id="0" name=""/>
        <dsp:cNvSpPr/>
      </dsp:nvSpPr>
      <dsp:spPr>
        <a:xfrm>
          <a:off x="3569681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New</a:t>
          </a:r>
          <a:endParaRPr lang="en-US" sz="2400" b="0" kern="120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sp:txBody>
      <dsp:txXfrm>
        <a:off x="3941162" y="1565827"/>
        <a:ext cx="1855591" cy="1855772"/>
      </dsp:txXfrm>
    </dsp:sp>
    <dsp:sp modelId="{7BC2C4F7-A6C7-42E1-9E33-57BDD42FE1BB}">
      <dsp:nvSpPr>
        <dsp:cNvPr id="0" name=""/>
        <dsp:cNvSpPr/>
      </dsp:nvSpPr>
      <dsp:spPr>
        <a:xfrm rot="2700000">
          <a:off x="603905" y="1105127"/>
          <a:ext cx="2776683" cy="2776683"/>
        </a:xfrm>
        <a:prstGeom prst="teardrop">
          <a:avLst>
            <a:gd name="adj" fmla="val 100000"/>
          </a:avLst>
        </a:prstGeom>
        <a:solidFill>
          <a:srgbClr val="D9D9D9">
            <a:lumMod val="25000"/>
          </a:srgbClr>
        </a:solidFill>
        <a:ln w="12700" cap="flat" cmpd="sng" algn="ctr">
          <a:solidFill>
            <a:srgbClr val="2C2E2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12BD58-F406-4619-AEB7-3AE618B93B0E}">
      <dsp:nvSpPr>
        <dsp:cNvPr id="0" name=""/>
        <dsp:cNvSpPr/>
      </dsp:nvSpPr>
      <dsp:spPr>
        <a:xfrm>
          <a:off x="692970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40000"/>
              <a:lumOff val="6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Existing</a:t>
          </a:r>
        </a:p>
      </dsp:txBody>
      <dsp:txXfrm>
        <a:off x="1064451" y="1565827"/>
        <a:ext cx="1855591" cy="185577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D635A4-2F91-421C-BC27-C471CDAE3508}">
      <dsp:nvSpPr>
        <dsp:cNvPr id="0" name=""/>
        <dsp:cNvSpPr/>
      </dsp:nvSpPr>
      <dsp:spPr>
        <a:xfrm>
          <a:off x="6353975" y="1101761"/>
          <a:ext cx="2783387" cy="2783902"/>
        </a:xfrm>
        <a:prstGeom prst="ellipse">
          <a:avLst/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997710-046F-40C3-ABFF-91503273DCE9}">
      <dsp:nvSpPr>
        <dsp:cNvPr id="0" name=""/>
        <dsp:cNvSpPr/>
      </dsp:nvSpPr>
      <dsp:spPr>
        <a:xfrm>
          <a:off x="6446392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>
              <a:solidFill>
                <a:srgbClr val="FFFFFF"/>
              </a:solidFill>
              <a:latin typeface="Futura Std Book"/>
              <a:cs typeface="Arial" panose="020B0604020202020204" pitchFamily="34" charset="0"/>
            </a:rPr>
            <a:t>Coming Soon</a:t>
          </a:r>
          <a:endParaRPr lang="en-US" sz="2400" b="0" kern="1200" dirty="0">
            <a:solidFill>
              <a:srgbClr val="FFFFFF"/>
            </a:solidFill>
            <a:latin typeface="Futura Std Book"/>
            <a:cs typeface="Arial" panose="020B0604020202020204" pitchFamily="34" charset="0"/>
          </a:endParaRPr>
        </a:p>
      </dsp:txBody>
      <dsp:txXfrm>
        <a:off x="6817872" y="1565827"/>
        <a:ext cx="1855591" cy="1855772"/>
      </dsp:txXfrm>
    </dsp:sp>
    <dsp:sp modelId="{AB5EC536-2330-47C8-9C21-2AEED68E11E4}">
      <dsp:nvSpPr>
        <dsp:cNvPr id="0" name=""/>
        <dsp:cNvSpPr/>
      </dsp:nvSpPr>
      <dsp:spPr>
        <a:xfrm rot="2700000">
          <a:off x="3480616" y="1105127"/>
          <a:ext cx="2776683" cy="2776683"/>
        </a:xfrm>
        <a:prstGeom prst="teardrop">
          <a:avLst>
            <a:gd name="adj" fmla="val 100000"/>
          </a:avLst>
        </a:prstGeom>
        <a:solidFill>
          <a:srgbClr val="D9D9D9">
            <a:lumMod val="25000"/>
          </a:srgbClr>
        </a:solidFill>
        <a:ln w="12700" cap="flat" cmpd="sng" algn="ctr">
          <a:solidFill>
            <a:srgbClr val="2C2E2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09D6DC-F1DF-4815-AC25-544491538311}">
      <dsp:nvSpPr>
        <dsp:cNvPr id="0" name=""/>
        <dsp:cNvSpPr/>
      </dsp:nvSpPr>
      <dsp:spPr>
        <a:xfrm>
          <a:off x="3569681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New</a:t>
          </a:r>
        </a:p>
      </dsp:txBody>
      <dsp:txXfrm>
        <a:off x="3941162" y="1565827"/>
        <a:ext cx="1855591" cy="1855772"/>
      </dsp:txXfrm>
    </dsp:sp>
    <dsp:sp modelId="{7BC2C4F7-A6C7-42E1-9E33-57BDD42FE1BB}">
      <dsp:nvSpPr>
        <dsp:cNvPr id="0" name=""/>
        <dsp:cNvSpPr/>
      </dsp:nvSpPr>
      <dsp:spPr>
        <a:xfrm rot="2700000">
          <a:off x="603905" y="1105127"/>
          <a:ext cx="2776683" cy="2776683"/>
        </a:xfrm>
        <a:prstGeom prst="teardrop">
          <a:avLst>
            <a:gd name="adj" fmla="val 100000"/>
          </a:avLst>
        </a:prstGeom>
        <a:solidFill>
          <a:srgbClr val="D9D9D9">
            <a:lumMod val="25000"/>
          </a:srgbClr>
        </a:solidFill>
        <a:ln w="12700" cap="flat" cmpd="sng" algn="ctr">
          <a:solidFill>
            <a:srgbClr val="2C2E2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12BD58-F406-4619-AEB7-3AE618B93B0E}">
      <dsp:nvSpPr>
        <dsp:cNvPr id="0" name=""/>
        <dsp:cNvSpPr/>
      </dsp:nvSpPr>
      <dsp:spPr>
        <a:xfrm>
          <a:off x="692970" y="1194574"/>
          <a:ext cx="2598553" cy="259827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40000"/>
              <a:lumOff val="6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2">
                  <a:lumMod val="50000"/>
                </a:schemeClr>
              </a:solidFill>
              <a:latin typeface="Futura Std Book"/>
              <a:cs typeface="Arial" panose="020B0604020202020204" pitchFamily="34" charset="0"/>
            </a:rPr>
            <a:t>Existing</a:t>
          </a:r>
        </a:p>
      </dsp:txBody>
      <dsp:txXfrm>
        <a:off x="1064451" y="1565827"/>
        <a:ext cx="1855591" cy="18557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LinearBlockProcessNumbered">
  <dgm:title val="Linear Block Process Numbered"/>
  <dgm:desc val="Used to show a progression; a timeline; sequential steps in a task, process, or workflow; or to emphasize movement or direction. Automatic numbers have been introduced to show the steps of the process. Level 1 text and Level 2 text both appears in a rectangl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0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0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0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2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0.08"/>
      <dgm:constr type="primFontSz" for="des" forName="sibTransNodeRect" op="equ"/>
      <dgm:constr type="primFontSz" for="des" forName="nodeRect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onstrLst>
          <dgm:constr type="h" refType="w" op="lte" fact="1.2"/>
          <dgm:constr type="w" for="ch" forName="bgRect" refType="w"/>
          <dgm:constr type="h" for="ch" forName="bgRect" refType="h"/>
          <dgm:constr type="t" for="ch" forName="bgRect"/>
          <dgm:constr type="l" for="ch" forName="bgRect"/>
          <dgm:constr type="w" for="ch" forName="sibTransNodeRect" refType="w" refFor="ch" refForName="bgRect"/>
          <dgm:constr type="h" for="ch" forName="sibTransNodeRect" refType="h" refFor="ch" refForName="bgRect" fact="0.4"/>
          <dgm:constr type="t" for="ch" forName="sibTransNodeRect"/>
          <dgm:constr type="l" for="ch" forName="sibTransNodeRect"/>
          <dgm:constr type="r" for="ch" forName="nodeRect" refType="r" refFor="ch" refForName="bgRect"/>
          <dgm:constr type="h" for="ch" forName="nodeRect" refType="h" refFor="ch" refForName="bgRect" fact="0.6"/>
          <dgm:constr type="t" for="ch" forName="nodeRect" refType="b" refFor="ch" refForName="sibTransNodeRect"/>
          <dgm:constr type="l" for="ch" forName="nodeRect" refType="l" refFor="ch" refForName="bgRect"/>
        </dgm:constrLst>
        <dgm:ruleLst>
          <dgm:rule type="w" for="ch" forName="nodeRect" val="NaN" fact="NaN" max="30"/>
        </dgm:ruleLst>
        <dgm:layoutNode name="bgRect" styleLbl="alignNode1">
          <dgm:alg type="sp"/>
          <dgm:shape xmlns:r="http://schemas.openxmlformats.org/officeDocument/2006/relationships" type="rect" r:blip="">
            <dgm:adjLst>
              <dgm:adj idx="1" val="0.05"/>
            </dgm:adjLst>
          </dgm:shape>
          <dgm:presOf axis="self"/>
          <dgm:constrLst/>
          <dgm:ruleLst/>
        </dgm:layoutNode>
        <dgm:forEach name="Name19" axis="followSib" ptType="sibTrans" hideLastTrans="0" cnt="1">
          <dgm:layoutNode name="sibTransNodeRect" styleLbl="alignNode1">
            <dgm:varLst>
              <dgm:chMax val="0"/>
              <dgm:bulletEnabled val="1"/>
            </dgm:varLst>
            <dgm:presOf axis="self"/>
            <dgm:alg type="tx">
              <dgm:param type="parTxLTRAlign" val="l"/>
              <dgm:param type="parTxRTLAlign" val="l"/>
            </dgm:alg>
            <dgm:shape xmlns:r="http://schemas.openxmlformats.org/officeDocument/2006/relationships" type="rect" r:blip="" hideGeom="1">
              <dgm:adjLst/>
            </dgm:shape>
            <dgm:constrLst>
              <dgm:constr type="primFontSz" val="66"/>
              <dgm:constr type="tMarg" val="13"/>
              <dgm:constr type="lMarg" refType="w" fact="0.28"/>
              <dgm:constr type="rMarg" refType="w" fact="0.28"/>
              <dgm:constr type="bMarg" val="13"/>
            </dgm:constrLst>
            <dgm:ruleLst>
              <dgm:rule type="primFontSz" val="14" fact="NaN" max="NaN"/>
              <dgm:rule type="tMarg" val="13" fact="NaN" max="NaN"/>
            </dgm:ruleLst>
          </dgm:layoutNode>
        </dgm:forEach>
        <dgm:layoutNode name="nodeRect" styleLbl="alignNode1" moveWith="bgRect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  <dgm:param type="stBulletLvl" val="2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26"/>
            <dgm:constr type="tMarg"/>
            <dgm:constr type="lMarg" refType="w" fact="0.28"/>
            <dgm:constr type="rMarg" refType="w" fact="0.28"/>
            <dgm:constr type="bMarg" val="26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1">
            <a:buAutoNum type="arabicParenBoth"/>
          </dgm1611:buPr>
        </dgm1611:autoBuNodeInfo>
      </dgm1611:autoBuNodeInfoLst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839787-591B-43F5-9EA4-50E3C75209BB}" type="datetimeFigureOut">
              <a:rPr lang="en-US" smtClean="0"/>
              <a:t>11/2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9CDB4A-8BED-4F1C-8AD3-220AB2A3A79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981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 Hosts for Invitation</a:t>
            </a:r>
          </a:p>
          <a:p>
            <a:r>
              <a:rPr lang="en-US" dirty="0"/>
              <a:t>Share premise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4104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’s what we’ll be talking ab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484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ACH:</a:t>
            </a:r>
          </a:p>
          <a:p>
            <a:r>
              <a:rPr lang="en-US" dirty="0"/>
              <a:t>Here's what it is</a:t>
            </a:r>
          </a:p>
          <a:p>
            <a:r>
              <a:rPr lang="en-US" dirty="0"/>
              <a:t>Why it matters</a:t>
            </a:r>
          </a:p>
          <a:p>
            <a:r>
              <a:rPr lang="en-US" dirty="0"/>
              <a:t>What you need to d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1189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this is a story about change. (Bowie). </a:t>
            </a:r>
          </a:p>
          <a:p>
            <a:r>
              <a:rPr lang="en-US" dirty="0"/>
              <a:t>Stuff didn’t change much for a </a:t>
            </a:r>
            <a:r>
              <a:rPr lang="en-US" dirty="0" err="1"/>
              <a:t>lon</a:t>
            </a:r>
            <a:r>
              <a:rPr lang="en-US" dirty="0"/>
              <a:t> time, but now it changes constantly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068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do I mean by collaboration? It’s not just “talking more.” It’s not “working together.” </a:t>
            </a:r>
          </a:p>
          <a:p>
            <a:endParaRPr lang="en-US" dirty="0"/>
          </a:p>
          <a:p>
            <a:r>
              <a:rPr lang="en-US" dirty="0"/>
              <a:t>There are two absolutely crucial components of security collaboration: 1. Unfettered communication and 2. Psychological Safety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1362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nfettered communication means removing anything that slows down, blocks, or otherwise impedes communication. Between you and your colleagues, you and your executive team, you and your employees.  </a:t>
            </a:r>
          </a:p>
          <a:p>
            <a:endParaRPr lang="en-US" dirty="0"/>
          </a:p>
          <a:p>
            <a:r>
              <a:rPr lang="en-US" dirty="0"/>
              <a:t>In a perfect world, everyone knows about reportable information as soon as it happens. We need forms, meetings, </a:t>
            </a:r>
            <a:r>
              <a:rPr lang="en-US" dirty="0" err="1"/>
              <a:t>etc</a:t>
            </a:r>
            <a:r>
              <a:rPr lang="en-US" dirty="0"/>
              <a:t> to collect that information, of course, but the harder those are to use, the less likely they are to use. </a:t>
            </a:r>
          </a:p>
          <a:p>
            <a:endParaRPr lang="en-US" dirty="0"/>
          </a:p>
          <a:p>
            <a:r>
              <a:rPr lang="en-US" dirty="0"/>
              <a:t>How to fix this? Use (good) technology. Eliminate redundant steps. Reduce worry and pressure. Don’t wait 30 days to have an insider threat working group meeting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4601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irst part of unfettering is understanding the people you need to collaborate with and identifying – for each – what is impeding collaboration and creating friction. Is it frequency? Method? Language? Knowledge? Time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69215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irst part of unfettering is understanding the people you need to collaborate with and identifying – for each – what is impeding collaboration and creating friction. Is it frequency? Method? Language? Knowledge? Time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534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about building </a:t>
            </a:r>
            <a:r>
              <a:rPr lang="en-US" dirty="0" err="1"/>
              <a:t>threatswitch</a:t>
            </a:r>
            <a:r>
              <a:rPr lang="en-US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7721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sychological safety is the 2</a:t>
            </a:r>
            <a:r>
              <a:rPr lang="en-US" baseline="30000" dirty="0"/>
              <a:t>nd</a:t>
            </a:r>
            <a:r>
              <a:rPr lang="en-US" dirty="0"/>
              <a:t> part of collaboration. That means that the communicating parties enjoy mutual trust. </a:t>
            </a:r>
          </a:p>
          <a:p>
            <a:endParaRPr lang="en-US" dirty="0"/>
          </a:p>
          <a:p>
            <a:r>
              <a:rPr lang="en-US" dirty="0"/>
              <a:t>These 6 points taken from research performed by Google – who determined that the single most important factor in team success is Psychological Safety. https://hbr.org/2017/08/high-performing-teams-need-psychological-safety-heres-how-to-create-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7261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sychological safety is the 2</a:t>
            </a:r>
            <a:r>
              <a:rPr lang="en-US" baseline="30000" dirty="0"/>
              <a:t>nd</a:t>
            </a:r>
            <a:r>
              <a:rPr lang="en-US" dirty="0"/>
              <a:t> part of collaboration. That means that the communicating parties enjoy mutual trust. </a:t>
            </a:r>
          </a:p>
          <a:p>
            <a:endParaRPr lang="en-US" dirty="0"/>
          </a:p>
          <a:p>
            <a:r>
              <a:rPr lang="en-US" dirty="0"/>
              <a:t>These 6 points taken from research performed by Google – who determined that the single most important factor in team success is Psychological Safety. https://hbr.org/2017/08/high-performing-teams-need-psychological-safety-heres-how-to-create-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41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ory:</a:t>
            </a:r>
          </a:p>
          <a:p>
            <a:r>
              <a:rPr lang="en-US" dirty="0"/>
              <a:t>Never forget  -- date – ensign, security violation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6967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sychological safety is the 2</a:t>
            </a:r>
            <a:r>
              <a:rPr lang="en-US" baseline="30000" dirty="0"/>
              <a:t>nd</a:t>
            </a:r>
            <a:r>
              <a:rPr lang="en-US" dirty="0"/>
              <a:t> part of collaboration. That means that the communicating parties enjoy mutual trust. </a:t>
            </a:r>
          </a:p>
          <a:p>
            <a:endParaRPr lang="en-US" dirty="0"/>
          </a:p>
          <a:p>
            <a:r>
              <a:rPr lang="en-US" dirty="0"/>
              <a:t>These 6 points taken from research performed by Google – who determined that the single most important factor in team success is Psychological Safety. https://hbr.org/2017/08/high-performing-teams-need-psychological-safety-heres-how-to-create-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669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sychological safety is the 2</a:t>
            </a:r>
            <a:r>
              <a:rPr lang="en-US" baseline="30000" dirty="0"/>
              <a:t>nd</a:t>
            </a:r>
            <a:r>
              <a:rPr lang="en-US" dirty="0"/>
              <a:t> part of collaboration. That means that the communicating parties enjoy mutual trust. </a:t>
            </a:r>
          </a:p>
          <a:p>
            <a:endParaRPr lang="en-US" dirty="0"/>
          </a:p>
          <a:p>
            <a:r>
              <a:rPr lang="en-US" dirty="0"/>
              <a:t>These 6 points taken from research performed by Google – who determined that the single most important factor in team success is Psychological Safety. https://hbr.org/2017/08/high-performing-teams-need-psychological-safety-heres-how-to-create-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0617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sychological safety is the 2</a:t>
            </a:r>
            <a:r>
              <a:rPr lang="en-US" baseline="30000" dirty="0"/>
              <a:t>nd</a:t>
            </a:r>
            <a:r>
              <a:rPr lang="en-US" dirty="0"/>
              <a:t> part of collaboration. That means that the communicating parties enjoy mutual trust. </a:t>
            </a:r>
          </a:p>
          <a:p>
            <a:endParaRPr lang="en-US" dirty="0"/>
          </a:p>
          <a:p>
            <a:r>
              <a:rPr lang="en-US" dirty="0"/>
              <a:t>These 6 points taken from research performed by Google – who determined that the single most important factor in team success is Psychological Safety. https://hbr.org/2017/08/high-performing-teams-need-psychological-safety-heres-how-to-create-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307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sychological safety is the 2</a:t>
            </a:r>
            <a:r>
              <a:rPr lang="en-US" baseline="30000" dirty="0"/>
              <a:t>nd</a:t>
            </a:r>
            <a:r>
              <a:rPr lang="en-US" dirty="0"/>
              <a:t> part of collaboration. That means that the communicating parties enjoy mutual trust. </a:t>
            </a:r>
          </a:p>
          <a:p>
            <a:endParaRPr lang="en-US" dirty="0"/>
          </a:p>
          <a:p>
            <a:r>
              <a:rPr lang="en-US" dirty="0"/>
              <a:t>These 6 points taken from research performed by Google – who determined that the single most important factor in team success is Psychological Safety. https://hbr.org/2017/08/high-performing-teams-need-psychological-safety-heres-how-to-create-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2550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We have a team here, so please stop by with any questions. And while you’re at our table, we’ll donate $5 </a:t>
            </a:r>
            <a:r>
              <a:rPr lang="en-US" baseline="0"/>
              <a:t>to VetDogs in </a:t>
            </a:r>
            <a:r>
              <a:rPr lang="en-US" baseline="0" dirty="0"/>
              <a:t>exchange for your business car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6486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9CDB4A-8BED-4F1C-8AD3-220AB2A3A793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5176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wo things I want you to take away:</a:t>
            </a:r>
          </a:p>
          <a:p>
            <a:pPr marL="228600" indent="-228600">
              <a:buAutoNum type="arabicPeriod"/>
            </a:pPr>
            <a:r>
              <a:rPr lang="en-US" dirty="0"/>
              <a:t>RR themselves. What’s has changed recently, and what’s coming</a:t>
            </a:r>
          </a:p>
          <a:p>
            <a:pPr marL="228600" indent="-228600">
              <a:buAutoNum type="arabicPeriod"/>
            </a:pPr>
            <a:r>
              <a:rPr lang="en-US" dirty="0"/>
              <a:t>Give you some tools to adapt on a fundamental level, because it’s not about the reporting itself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582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’m going to walk through a few things at a high level:</a:t>
            </a:r>
          </a:p>
          <a:p>
            <a:pPr marL="228600" indent="-228600">
              <a:buAutoNum type="arabicPeriod"/>
            </a:pPr>
            <a:r>
              <a:rPr lang="en-US" dirty="0" err="1"/>
              <a:t>Esiting</a:t>
            </a:r>
            <a:r>
              <a:rPr lang="en-US" dirty="0"/>
              <a:t> – stuff you should already be doing but may not be; </a:t>
            </a:r>
          </a:p>
          <a:p>
            <a:pPr marL="228600" indent="-228600">
              <a:buAutoNum type="arabicPeriod"/>
            </a:pPr>
            <a:r>
              <a:rPr lang="en-US" dirty="0"/>
              <a:t>Things that are in flux right now</a:t>
            </a:r>
          </a:p>
          <a:p>
            <a:pPr marL="228600" indent="-228600">
              <a:buAutoNum type="arabicPeriod"/>
            </a:pPr>
            <a:r>
              <a:rPr lang="en-US" dirty="0"/>
              <a:t>Things that are coming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You will notice a pattern. These things come in two shots – first the guidance, then followed by verification. So it actually feels like two change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069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’s what we’ll be talking ab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7398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ACH:</a:t>
            </a:r>
          </a:p>
          <a:p>
            <a:r>
              <a:rPr lang="en-US" dirty="0"/>
              <a:t>Here's what it is</a:t>
            </a:r>
          </a:p>
          <a:p>
            <a:r>
              <a:rPr lang="en-US" dirty="0"/>
              <a:t>Why it matters</a:t>
            </a:r>
          </a:p>
          <a:p>
            <a:r>
              <a:rPr lang="en-US" dirty="0"/>
              <a:t>What you need to d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9905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ACH:</a:t>
            </a:r>
          </a:p>
          <a:p>
            <a:r>
              <a:rPr lang="en-US" dirty="0"/>
              <a:t>Here's what it is</a:t>
            </a:r>
          </a:p>
          <a:p>
            <a:r>
              <a:rPr lang="en-US" dirty="0"/>
              <a:t>Why it matters</a:t>
            </a:r>
          </a:p>
          <a:p>
            <a:r>
              <a:rPr lang="en-US" dirty="0"/>
              <a:t>What you need to d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5776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’s what we’ll be talking ab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2542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ACH:</a:t>
            </a:r>
          </a:p>
          <a:p>
            <a:r>
              <a:rPr lang="en-US" dirty="0"/>
              <a:t>Here's what it is</a:t>
            </a:r>
          </a:p>
          <a:p>
            <a:r>
              <a:rPr lang="en-US" dirty="0"/>
              <a:t>Why it matters</a:t>
            </a:r>
          </a:p>
          <a:p>
            <a:r>
              <a:rPr lang="en-US" dirty="0"/>
              <a:t>What you need to d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A948F-678A-42BE-964B-C8FB28FEA60E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168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4872" y="935303"/>
            <a:ext cx="9310258" cy="835625"/>
          </a:xfrm>
        </p:spPr>
        <p:txBody>
          <a:bodyPr anchor="b"/>
          <a:lstStyle>
            <a:lvl1pPr algn="ctr">
              <a:defRPr sz="4500">
                <a:latin typeface="Futura Std Book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70000" y="535497"/>
            <a:ext cx="7620000" cy="388234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latin typeface="Futura Std Book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288110" y="2027233"/>
            <a:ext cx="7601891" cy="935886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spcAft>
                <a:spcPts val="600"/>
              </a:spcAft>
              <a:buFontTx/>
              <a:buNone/>
              <a:defRPr sz="1400">
                <a:latin typeface="Futura Std Book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55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Side_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contenido 4"/>
          <p:cNvSpPr>
            <a:spLocks noGrp="1"/>
          </p:cNvSpPr>
          <p:nvPr>
            <p:ph sz="quarter" idx="19"/>
          </p:nvPr>
        </p:nvSpPr>
        <p:spPr>
          <a:xfrm>
            <a:off x="2126743" y="1485195"/>
            <a:ext cx="1654528" cy="1307043"/>
          </a:xfr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  <a:lvl2pPr marL="307967" indent="0">
              <a:buNone/>
              <a:defRPr sz="1200"/>
            </a:lvl2pPr>
            <a:lvl3pPr marL="615935" indent="0">
              <a:buNone/>
              <a:defRPr sz="1050"/>
            </a:lvl3pPr>
            <a:lvl4pPr marL="925490" indent="0">
              <a:buNone/>
              <a:defRPr sz="1050"/>
            </a:lvl4pPr>
            <a:lvl5pPr marL="1274730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20"/>
          </p:nvPr>
        </p:nvSpPr>
        <p:spPr>
          <a:xfrm>
            <a:off x="1608667" y="2946984"/>
            <a:ext cx="2624667" cy="423333"/>
          </a:xfrm>
        </p:spPr>
        <p:txBody>
          <a:bodyPr>
            <a:noAutofit/>
          </a:bodyPr>
          <a:lstStyle>
            <a:lvl1pPr marL="0" indent="0" algn="ctr">
              <a:buNone/>
              <a:defRPr sz="1100"/>
            </a:lvl1pPr>
            <a:lvl2pPr marL="307967" indent="0">
              <a:buNone/>
              <a:defRPr sz="1050"/>
            </a:lvl2pPr>
            <a:lvl3pPr marL="615935" indent="0">
              <a:buNone/>
              <a:defRPr sz="900"/>
            </a:lvl3pPr>
            <a:lvl4pPr marL="925490" indent="0">
              <a:buNone/>
              <a:defRPr sz="900"/>
            </a:lvl4pPr>
            <a:lvl5pPr marL="1274730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contenido 4"/>
          <p:cNvSpPr>
            <a:spLocks noGrp="1"/>
          </p:cNvSpPr>
          <p:nvPr>
            <p:ph sz="quarter" idx="21"/>
          </p:nvPr>
        </p:nvSpPr>
        <p:spPr>
          <a:xfrm>
            <a:off x="6304140" y="1485195"/>
            <a:ext cx="1654528" cy="1307043"/>
          </a:xfr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  <a:lvl2pPr marL="307967" indent="0">
              <a:buNone/>
              <a:defRPr sz="1200"/>
            </a:lvl2pPr>
            <a:lvl3pPr marL="615935" indent="0">
              <a:buNone/>
              <a:defRPr sz="1050"/>
            </a:lvl3pPr>
            <a:lvl4pPr marL="925490" indent="0">
              <a:buNone/>
              <a:defRPr sz="1050"/>
            </a:lvl4pPr>
            <a:lvl5pPr marL="1274730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Marcador de texto 6"/>
          <p:cNvSpPr>
            <a:spLocks noGrp="1"/>
          </p:cNvSpPr>
          <p:nvPr>
            <p:ph type="body" sz="quarter" idx="22"/>
          </p:nvPr>
        </p:nvSpPr>
        <p:spPr>
          <a:xfrm>
            <a:off x="5786064" y="2946984"/>
            <a:ext cx="2624667" cy="423333"/>
          </a:xfrm>
        </p:spPr>
        <p:txBody>
          <a:bodyPr>
            <a:noAutofit/>
          </a:bodyPr>
          <a:lstStyle>
            <a:lvl1pPr marL="0" indent="0" algn="ctr">
              <a:buNone/>
              <a:defRPr sz="1100"/>
            </a:lvl1pPr>
            <a:lvl2pPr marL="307967" indent="0">
              <a:buNone/>
              <a:defRPr sz="1050"/>
            </a:lvl2pPr>
            <a:lvl3pPr marL="615935" indent="0">
              <a:buNone/>
              <a:defRPr sz="900"/>
            </a:lvl3pPr>
            <a:lvl4pPr marL="925490" indent="0">
              <a:buNone/>
              <a:defRPr sz="900"/>
            </a:lvl4pPr>
            <a:lvl5pPr marL="1274730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contenido 4"/>
          <p:cNvSpPr>
            <a:spLocks noGrp="1"/>
          </p:cNvSpPr>
          <p:nvPr>
            <p:ph sz="quarter" idx="23"/>
          </p:nvPr>
        </p:nvSpPr>
        <p:spPr>
          <a:xfrm>
            <a:off x="2126743" y="3597047"/>
            <a:ext cx="1654528" cy="1307043"/>
          </a:xfr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  <a:lvl2pPr marL="307967" indent="0">
              <a:buNone/>
              <a:defRPr sz="1200"/>
            </a:lvl2pPr>
            <a:lvl3pPr marL="615935" indent="0">
              <a:buNone/>
              <a:defRPr sz="1050"/>
            </a:lvl3pPr>
            <a:lvl4pPr marL="925490" indent="0">
              <a:buNone/>
              <a:defRPr sz="1050"/>
            </a:lvl4pPr>
            <a:lvl5pPr marL="1274730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Marcador de texto 6"/>
          <p:cNvSpPr>
            <a:spLocks noGrp="1"/>
          </p:cNvSpPr>
          <p:nvPr>
            <p:ph type="body" sz="quarter" idx="24"/>
          </p:nvPr>
        </p:nvSpPr>
        <p:spPr>
          <a:xfrm>
            <a:off x="1608667" y="5058835"/>
            <a:ext cx="2624667" cy="423333"/>
          </a:xfrm>
        </p:spPr>
        <p:txBody>
          <a:bodyPr>
            <a:noAutofit/>
          </a:bodyPr>
          <a:lstStyle>
            <a:lvl1pPr marL="0" indent="0" algn="ctr">
              <a:buNone/>
              <a:defRPr sz="1100"/>
            </a:lvl1pPr>
            <a:lvl2pPr marL="307967" indent="0">
              <a:buNone/>
              <a:defRPr sz="1050"/>
            </a:lvl2pPr>
            <a:lvl3pPr marL="615935" indent="0">
              <a:buNone/>
              <a:defRPr sz="900"/>
            </a:lvl3pPr>
            <a:lvl4pPr marL="925490" indent="0">
              <a:buNone/>
              <a:defRPr sz="900"/>
            </a:lvl4pPr>
            <a:lvl5pPr marL="1274730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Marcador de contenido 4"/>
          <p:cNvSpPr>
            <a:spLocks noGrp="1"/>
          </p:cNvSpPr>
          <p:nvPr>
            <p:ph sz="quarter" idx="25"/>
          </p:nvPr>
        </p:nvSpPr>
        <p:spPr>
          <a:xfrm>
            <a:off x="6304140" y="3597047"/>
            <a:ext cx="1654528" cy="1307043"/>
          </a:xfr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  <a:lvl2pPr marL="307967" indent="0">
              <a:buNone/>
              <a:defRPr sz="1200"/>
            </a:lvl2pPr>
            <a:lvl3pPr marL="615935" indent="0">
              <a:buNone/>
              <a:defRPr sz="1050"/>
            </a:lvl3pPr>
            <a:lvl4pPr marL="925490" indent="0">
              <a:buNone/>
              <a:defRPr sz="1050"/>
            </a:lvl4pPr>
            <a:lvl5pPr marL="1274730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Marcador de texto 6"/>
          <p:cNvSpPr>
            <a:spLocks noGrp="1"/>
          </p:cNvSpPr>
          <p:nvPr>
            <p:ph type="body" sz="quarter" idx="26"/>
          </p:nvPr>
        </p:nvSpPr>
        <p:spPr>
          <a:xfrm>
            <a:off x="5786064" y="5058835"/>
            <a:ext cx="2624667" cy="423333"/>
          </a:xfrm>
        </p:spPr>
        <p:txBody>
          <a:bodyPr>
            <a:noAutofit/>
          </a:bodyPr>
          <a:lstStyle>
            <a:lvl1pPr marL="0" indent="0" algn="ctr">
              <a:buNone/>
              <a:defRPr sz="1100"/>
            </a:lvl1pPr>
            <a:lvl2pPr marL="307967" indent="0">
              <a:buNone/>
              <a:defRPr sz="1050"/>
            </a:lvl2pPr>
            <a:lvl3pPr marL="615935" indent="0">
              <a:buNone/>
              <a:defRPr sz="900"/>
            </a:lvl3pPr>
            <a:lvl4pPr marL="925490" indent="0">
              <a:buNone/>
              <a:defRPr sz="900"/>
            </a:lvl4pPr>
            <a:lvl5pPr marL="1274730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95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51E7C3-C2BE-2645-8223-8F6C629897C1}" type="datetimeFigureOut">
              <a:rPr lang="en-US" smtClean="0"/>
              <a:t>11/2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BB698-C6F9-F84C-BD0A-385FFE2B30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35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51E7C3-C2BE-2645-8223-8F6C629897C1}" type="datetimeFigureOut">
              <a:rPr lang="en-US" smtClean="0"/>
              <a:t>11/20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BB698-C6F9-F84C-BD0A-385FFE2B30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165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824" y="381000"/>
            <a:ext cx="3276864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323" y="822855"/>
            <a:ext cx="5143500" cy="406135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9824" y="1714500"/>
            <a:ext cx="3276864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51E7C3-C2BE-2645-8223-8F6C629897C1}" type="datetimeFigureOut">
              <a:rPr lang="en-US" smtClean="0"/>
              <a:t>11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BB698-C6F9-F84C-BD0A-385FFE2B30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28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824" y="381000"/>
            <a:ext cx="3276864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319323" y="822855"/>
            <a:ext cx="5143500" cy="406135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9824" y="1714500"/>
            <a:ext cx="3276864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51E7C3-C2BE-2645-8223-8F6C629897C1}" type="datetimeFigureOut">
              <a:rPr lang="en-US" smtClean="0"/>
              <a:t>11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BB698-C6F9-F84C-BD0A-385FFE2B30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41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utura Std Book"/>
              </a:defRPr>
            </a:lvl1pPr>
            <a:lvl2pPr>
              <a:defRPr>
                <a:latin typeface="Futura Std Book"/>
              </a:defRPr>
            </a:lvl2pPr>
            <a:lvl3pPr>
              <a:defRPr>
                <a:latin typeface="Futura Std Book"/>
              </a:defRPr>
            </a:lvl3pPr>
            <a:lvl4pPr>
              <a:defRPr>
                <a:latin typeface="Futura Std Book"/>
              </a:defRPr>
            </a:lvl4pPr>
            <a:lvl5pPr>
              <a:defRPr>
                <a:latin typeface="Futura Std Book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37078" y="5253779"/>
            <a:ext cx="2286000" cy="304271"/>
          </a:xfrm>
        </p:spPr>
        <p:txBody>
          <a:bodyPr/>
          <a:lstStyle/>
          <a:p>
            <a:fld id="{4A51E7C3-C2BE-2645-8223-8F6C629897C1}" type="datetimeFigureOut">
              <a:rPr lang="en-US" smtClean="0"/>
              <a:t>11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07937" y="5243619"/>
            <a:ext cx="3429000" cy="30427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9547" y="5243619"/>
            <a:ext cx="456353" cy="304271"/>
          </a:xfrm>
        </p:spPr>
        <p:txBody>
          <a:bodyPr/>
          <a:lstStyle/>
          <a:p>
            <a:fld id="{992BB698-C6F9-F84C-BD0A-385FFE2B30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Futura Std Book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549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690" y="3034145"/>
            <a:ext cx="9524038" cy="767918"/>
          </a:xfrm>
        </p:spPr>
        <p:txBody>
          <a:bodyPr anchor="b"/>
          <a:lstStyle>
            <a:lvl1pPr algn="ctr">
              <a:defRPr sz="4500">
                <a:latin typeface="Futura Std Book" panose="020B08020202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209" y="3824553"/>
            <a:ext cx="8763000" cy="498065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1">
                    <a:tint val="75000"/>
                  </a:schemeClr>
                </a:solidFill>
                <a:latin typeface="Futura Std Book" panose="020B0802020204020204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Futura Std Book" panose="020B0802020204020204"/>
              </a:defRPr>
            </a:lvl1pPr>
          </a:lstStyle>
          <a:p>
            <a:fld id="{4A51E7C3-C2BE-2645-8223-8F6C629897C1}" type="datetimeFigureOut">
              <a:rPr lang="en-US" smtClean="0"/>
              <a:pPr/>
              <a:t>11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Futura Std Book" panose="020B0802020204020204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utura Std Book" panose="020B0802020204020204"/>
              </a:defRPr>
            </a:lvl1pPr>
          </a:lstStyle>
          <a:p>
            <a:fld id="{992BB698-C6F9-F84C-BD0A-385FFE2B30F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1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Futura Std Book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00" y="1122219"/>
            <a:ext cx="4318000" cy="4025251"/>
          </a:xfrm>
        </p:spPr>
        <p:txBody>
          <a:bodyPr/>
          <a:lstStyle>
            <a:lvl1pPr>
              <a:defRPr>
                <a:latin typeface="Futura Std Book"/>
              </a:defRPr>
            </a:lvl1pPr>
            <a:lvl2pPr>
              <a:defRPr>
                <a:latin typeface="Futura Std Book"/>
              </a:defRPr>
            </a:lvl2pPr>
            <a:lvl3pPr>
              <a:defRPr>
                <a:latin typeface="Futura Std Book"/>
              </a:defRPr>
            </a:lvl3pPr>
            <a:lvl4pPr>
              <a:defRPr>
                <a:latin typeface="Futura Std Book"/>
              </a:defRPr>
            </a:lvl4pPr>
            <a:lvl5pPr>
              <a:defRPr>
                <a:latin typeface="Futura Std Book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0" y="1122219"/>
            <a:ext cx="4318000" cy="4025251"/>
          </a:xfrm>
        </p:spPr>
        <p:txBody>
          <a:bodyPr/>
          <a:lstStyle>
            <a:lvl1pPr>
              <a:defRPr>
                <a:latin typeface="Futura Std Book"/>
              </a:defRPr>
            </a:lvl1pPr>
            <a:lvl2pPr>
              <a:defRPr>
                <a:latin typeface="Futura Std Book"/>
              </a:defRPr>
            </a:lvl2pPr>
            <a:lvl3pPr>
              <a:defRPr>
                <a:latin typeface="Futura Std Book"/>
              </a:defRPr>
            </a:lvl3pPr>
            <a:lvl4pPr>
              <a:defRPr>
                <a:latin typeface="Futura Std Book"/>
              </a:defRPr>
            </a:lvl4pPr>
            <a:lvl5pPr>
              <a:defRPr>
                <a:latin typeface="Futura Std Book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Futura Std Book"/>
              </a:defRPr>
            </a:lvl1pPr>
          </a:lstStyle>
          <a:p>
            <a:fld id="{4A51E7C3-C2BE-2645-8223-8F6C629897C1}" type="datetimeFigureOut">
              <a:rPr lang="en-US" smtClean="0"/>
              <a:pPr/>
              <a:t>11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Futura Std Book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utura Std Book"/>
              </a:defRPr>
            </a:lvl1pPr>
          </a:lstStyle>
          <a:p>
            <a:fld id="{992BB698-C6F9-F84C-BD0A-385FFE2B30F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40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mp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Futura Std Book"/>
              </a:defRPr>
            </a:lvl1pPr>
          </a:lstStyle>
          <a:p>
            <a:pPr defTabSz="617146"/>
            <a:fld id="{73A0329E-010A-4A1A-84C8-15716F3A878A}" type="datetimeFigureOut">
              <a:rPr lang="es-ES" smtClean="0"/>
              <a:pPr defTabSz="617146"/>
              <a:t>20/11/2019</a:t>
            </a:fld>
            <a:endParaRPr lang="es-ES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Futura Std Book"/>
              </a:defRPr>
            </a:lvl1pPr>
          </a:lstStyle>
          <a:p>
            <a:pPr defTabSz="617146"/>
            <a:endParaRPr lang="es-ES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Futura Std Book"/>
              </a:defRPr>
            </a:lvl1pPr>
          </a:lstStyle>
          <a:p>
            <a:pPr defTabSz="617146"/>
            <a:fld id="{0EEF718D-C004-446C-BDB7-A07F6602A01B}" type="slidenum">
              <a:rPr lang="es-ES" smtClean="0"/>
              <a:pPr defTabSz="617146"/>
              <a:t>‹#›</a:t>
            </a:fld>
            <a:endParaRPr lang="es-E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Futura Std Book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46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17146"/>
            <a:fld id="{73A0329E-010A-4A1A-84C8-15716F3A878A}" type="datetimeFigureOut">
              <a:rPr lang="es-ES" smtClean="0">
                <a:solidFill>
                  <a:prstClr val="white"/>
                </a:solidFill>
              </a:rPr>
              <a:pPr defTabSz="617146"/>
              <a:t>20/11/2019</a:t>
            </a:fld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17146"/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17146"/>
            <a:fld id="{0EEF718D-C004-446C-BDB7-A07F6602A01B}" type="slidenum">
              <a:rPr lang="es-ES" smtClean="0">
                <a:solidFill>
                  <a:prstClr val="white"/>
                </a:solidFill>
              </a:rPr>
              <a:pPr defTabSz="617146"/>
              <a:t>‹#›</a:t>
            </a:fld>
            <a:endParaRPr lang="es-E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39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Side_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17146"/>
            <a:fld id="{73A0329E-010A-4A1A-84C8-15716F3A878A}" type="datetimeFigureOut">
              <a:rPr lang="es-ES" smtClean="0"/>
              <a:pPr defTabSz="617146"/>
              <a:t>20/11/2019</a:t>
            </a:fld>
            <a:endParaRPr lang="es-ES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17146"/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17146"/>
            <a:fld id="{0EEF718D-C004-446C-BDB7-A07F6602A01B}" type="slidenum">
              <a:rPr lang="es-ES" smtClean="0"/>
              <a:pPr defTabSz="617146"/>
              <a:t>‹#›</a:t>
            </a:fld>
            <a:endParaRPr lang="es-E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036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Side_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17146"/>
            <a:fld id="{73A0329E-010A-4A1A-84C8-15716F3A878A}" type="datetimeFigureOut">
              <a:rPr lang="es-ES" smtClean="0"/>
              <a:pPr defTabSz="617146"/>
              <a:t>20/11/2019</a:t>
            </a:fld>
            <a:endParaRPr lang="es-ES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17146"/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17146"/>
            <a:fld id="{0EEF718D-C004-446C-BDB7-A07F6602A01B}" type="slidenum">
              <a:rPr lang="es-ES" smtClean="0"/>
              <a:pPr defTabSz="617146"/>
              <a:t>‹#›</a:t>
            </a:fld>
            <a:endParaRPr lang="es-ES" dirty="0"/>
          </a:p>
        </p:txBody>
      </p:sp>
      <p:sp>
        <p:nvSpPr>
          <p:cNvPr id="13" name="Marcador de contenido 12"/>
          <p:cNvSpPr>
            <a:spLocks noGrp="1"/>
          </p:cNvSpPr>
          <p:nvPr>
            <p:ph sz="quarter" idx="13"/>
          </p:nvPr>
        </p:nvSpPr>
        <p:spPr>
          <a:xfrm>
            <a:off x="968587" y="1340274"/>
            <a:ext cx="2062480" cy="1856232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307967" indent="0" algn="ctr">
              <a:buNone/>
              <a:defRPr sz="1400"/>
            </a:lvl2pPr>
            <a:lvl3pPr marL="615935" indent="0" algn="ctr">
              <a:buNone/>
              <a:defRPr sz="1100"/>
            </a:lvl3pPr>
            <a:lvl4pPr marL="925490" indent="0" algn="ctr">
              <a:buNone/>
              <a:defRPr sz="1100"/>
            </a:lvl4pPr>
            <a:lvl5pPr marL="1274730" indent="0" algn="ctr"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US" dirty="0"/>
          </a:p>
        </p:txBody>
      </p:sp>
      <p:sp>
        <p:nvSpPr>
          <p:cNvPr id="14" name="Marcador de texto 16"/>
          <p:cNvSpPr>
            <a:spLocks noGrp="1"/>
          </p:cNvSpPr>
          <p:nvPr>
            <p:ph type="body" sz="quarter" idx="14"/>
          </p:nvPr>
        </p:nvSpPr>
        <p:spPr>
          <a:xfrm>
            <a:off x="968587" y="3345180"/>
            <a:ext cx="2147993" cy="762000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2800"/>
            </a:lvl1pPr>
            <a:lvl2pPr marL="307967" indent="0">
              <a:buNone/>
              <a:defRPr sz="900"/>
            </a:lvl2pPr>
            <a:lvl3pPr marL="615935" indent="0">
              <a:buNone/>
              <a:defRPr sz="700"/>
            </a:lvl3pPr>
            <a:lvl4pPr marL="925490" indent="0">
              <a:buNone/>
              <a:defRPr sz="700"/>
            </a:lvl4pPr>
            <a:lvl5pPr marL="1274730" indent="0"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Marcador de contenido 12"/>
          <p:cNvSpPr>
            <a:spLocks noGrp="1"/>
          </p:cNvSpPr>
          <p:nvPr>
            <p:ph sz="quarter" idx="15"/>
          </p:nvPr>
        </p:nvSpPr>
        <p:spPr>
          <a:xfrm>
            <a:off x="4006003" y="1340274"/>
            <a:ext cx="2062480" cy="1856232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307967" indent="0" algn="ctr">
              <a:buNone/>
              <a:defRPr sz="1400"/>
            </a:lvl2pPr>
            <a:lvl3pPr marL="615935" indent="0" algn="ctr">
              <a:buNone/>
              <a:defRPr sz="1100"/>
            </a:lvl3pPr>
            <a:lvl4pPr marL="925490" indent="0" algn="ctr">
              <a:buNone/>
              <a:defRPr sz="1100"/>
            </a:lvl4pPr>
            <a:lvl5pPr marL="1274730" indent="0" algn="ctr"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US"/>
          </a:p>
        </p:txBody>
      </p:sp>
      <p:sp>
        <p:nvSpPr>
          <p:cNvPr id="16" name="Marcador de texto 16"/>
          <p:cNvSpPr>
            <a:spLocks noGrp="1"/>
          </p:cNvSpPr>
          <p:nvPr>
            <p:ph type="body" sz="quarter" idx="16"/>
          </p:nvPr>
        </p:nvSpPr>
        <p:spPr>
          <a:xfrm>
            <a:off x="4006004" y="3345180"/>
            <a:ext cx="2147993" cy="762000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2800"/>
            </a:lvl1pPr>
            <a:lvl2pPr marL="307967" indent="0">
              <a:buNone/>
              <a:defRPr sz="900"/>
            </a:lvl2pPr>
            <a:lvl3pPr marL="615935" indent="0">
              <a:buNone/>
              <a:defRPr sz="700"/>
            </a:lvl3pPr>
            <a:lvl4pPr marL="925490" indent="0">
              <a:buNone/>
              <a:defRPr sz="700"/>
            </a:lvl4pPr>
            <a:lvl5pPr marL="1274730" indent="0"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Marcador de contenido 12"/>
          <p:cNvSpPr>
            <a:spLocks noGrp="1"/>
          </p:cNvSpPr>
          <p:nvPr>
            <p:ph sz="quarter" idx="17"/>
          </p:nvPr>
        </p:nvSpPr>
        <p:spPr>
          <a:xfrm>
            <a:off x="7043420" y="1340274"/>
            <a:ext cx="2062480" cy="1856232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307967" indent="0" algn="ctr">
              <a:buNone/>
              <a:defRPr sz="1400"/>
            </a:lvl2pPr>
            <a:lvl3pPr marL="615935" indent="0" algn="ctr">
              <a:buNone/>
              <a:defRPr sz="1100"/>
            </a:lvl3pPr>
            <a:lvl4pPr marL="925490" indent="0" algn="ctr">
              <a:buNone/>
              <a:defRPr sz="1100"/>
            </a:lvl4pPr>
            <a:lvl5pPr marL="1274730" indent="0" algn="ctr"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US"/>
          </a:p>
        </p:txBody>
      </p:sp>
      <p:sp>
        <p:nvSpPr>
          <p:cNvPr id="18" name="Marcador de texto 16"/>
          <p:cNvSpPr>
            <a:spLocks noGrp="1"/>
          </p:cNvSpPr>
          <p:nvPr>
            <p:ph type="body" sz="quarter" idx="18"/>
          </p:nvPr>
        </p:nvSpPr>
        <p:spPr>
          <a:xfrm>
            <a:off x="7043420" y="3345180"/>
            <a:ext cx="2147993" cy="762000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2800"/>
            </a:lvl1pPr>
            <a:lvl2pPr marL="307967" indent="0">
              <a:buNone/>
              <a:defRPr sz="900"/>
            </a:lvl2pPr>
            <a:lvl3pPr marL="615935" indent="0">
              <a:buNone/>
              <a:defRPr sz="700"/>
            </a:lvl3pPr>
            <a:lvl4pPr marL="925490" indent="0">
              <a:buNone/>
              <a:defRPr sz="700"/>
            </a:lvl4pPr>
            <a:lvl5pPr marL="1274730" indent="0"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703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51E7C3-C2BE-2645-8223-8F6C629897C1}" type="datetimeFigureOut">
              <a:rPr lang="en-US" smtClean="0"/>
              <a:t>11/2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BB698-C6F9-F84C-BD0A-385FFE2B30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98500" y="1858699"/>
            <a:ext cx="2442104" cy="2505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3858948" y="1858699"/>
            <a:ext cx="2442104" cy="2505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5"/>
          </p:nvPr>
        </p:nvSpPr>
        <p:spPr>
          <a:xfrm>
            <a:off x="7019396" y="1858699"/>
            <a:ext cx="2442104" cy="2505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42553" y="1616364"/>
            <a:ext cx="53893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/>
              <a:t>“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884658" y="3812869"/>
            <a:ext cx="53893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/>
              <a:t>”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603000" y="1703247"/>
            <a:ext cx="53893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/>
              <a:t>“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045105" y="3899752"/>
            <a:ext cx="53893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/>
              <a:t>”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727298" y="1616364"/>
            <a:ext cx="53893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/>
              <a:t>“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169402" y="3812869"/>
            <a:ext cx="53893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/>
              <a:t>”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>
          <a:xfrm>
            <a:off x="698500" y="4694336"/>
            <a:ext cx="2442104" cy="53048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58947" y="4686555"/>
            <a:ext cx="2442104" cy="53048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7097448" y="4686554"/>
            <a:ext cx="2442104" cy="53048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37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00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00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2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2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2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2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2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2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200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200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200"/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/>
      <p:bldP spid="11" grpId="0"/>
      <p:bldP spid="16" grpId="0"/>
      <p:bldP spid="17" grpId="0"/>
      <p:bldP spid="18" grpId="0"/>
      <p:bldP spid="19" grpId="0"/>
      <p:bldP spid="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0160000" cy="5715000"/>
          </a:xfrm>
          <a:prstGeom prst="rect">
            <a:avLst/>
          </a:prstGeom>
          <a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4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8500" y="304271"/>
            <a:ext cx="8763000" cy="53531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8500" y="1047404"/>
            <a:ext cx="8763000" cy="3748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737078" y="5368080"/>
            <a:ext cx="22860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51E7C3-C2BE-2645-8223-8F6C629897C1}" type="datetimeFigureOut">
              <a:rPr lang="en-US" smtClean="0"/>
              <a:t>11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7937" y="5357920"/>
            <a:ext cx="34290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49547" y="5357920"/>
            <a:ext cx="45635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2BB698-C6F9-F84C-BD0A-385FFE2B30F2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344" y="5017227"/>
            <a:ext cx="857301" cy="5529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4923517-9541-4FDB-8D59-6E32208B9B37}"/>
              </a:ext>
            </a:extLst>
          </p:cNvPr>
          <p:cNvSpPr/>
          <p:nvPr userDrawn="1"/>
        </p:nvSpPr>
        <p:spPr>
          <a:xfrm>
            <a:off x="-19769" y="10799"/>
            <a:ext cx="10160000" cy="5715000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lvl="0">
              <a:defRPr lang="en-US"/>
            </a:defPPr>
            <a:lvl1pPr marL="0" lvl="0" algn="l" defTabSz="713232" rtl="0" eaLnBrk="1" latinLnBrk="0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lvl="1" algn="l" defTabSz="713232" rtl="0" eaLnBrk="1" latinLnBrk="0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lvl="2" algn="l" defTabSz="713232" rtl="0" eaLnBrk="1" latinLnBrk="0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lvl="3" algn="l" defTabSz="713232" rtl="0" eaLnBrk="1" latinLnBrk="0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lvl="4" algn="l" defTabSz="713232" rtl="0" eaLnBrk="1" latinLnBrk="0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lvl="5" algn="l" defTabSz="713232" rtl="0" eaLnBrk="1" latinLnBrk="0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lvl="6" algn="l" defTabSz="713232" rtl="0" eaLnBrk="1" latinLnBrk="0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lvl="7" algn="l" defTabSz="713232" rtl="0" eaLnBrk="1" latinLnBrk="0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lvl="8" algn="l" defTabSz="713232" rtl="0" eaLnBrk="1" latinLnBrk="0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45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7" r:id="rId5"/>
    <p:sldLayoutId id="2147483660" r:id="rId6"/>
    <p:sldLayoutId id="2147483661" r:id="rId7"/>
    <p:sldLayoutId id="2147483662" r:id="rId8"/>
    <p:sldLayoutId id="2147483668" r:id="rId9"/>
    <p:sldLayoutId id="2147483663" r:id="rId10"/>
    <p:sldLayoutId id="2147483654" r:id="rId11"/>
    <p:sldLayoutId id="2147483655" r:id="rId12"/>
    <p:sldLayoutId id="2147483656" r:id="rId13"/>
    <p:sldLayoutId id="2147483657" r:id="rId14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2100" kern="1200">
          <a:solidFill>
            <a:schemeClr val="tx1"/>
          </a:solidFill>
          <a:latin typeface="+mj-lt"/>
          <a:ea typeface="Arial" charset="0"/>
          <a:cs typeface="Arial" charset="0"/>
        </a:defRPr>
      </a:lvl1pPr>
      <a:lvl2pPr marL="573088" indent="-2301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Arial" charset="0"/>
          <a:cs typeface="Arial" charset="0"/>
        </a:defRPr>
      </a:lvl2pPr>
      <a:lvl3pPr marL="798513" indent="-225425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Arial" charset="0"/>
          <a:cs typeface="Arial" charset="0"/>
        </a:defRPr>
      </a:lvl3pPr>
      <a:lvl4pPr marL="1030288" indent="-231775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Arial" charset="0"/>
          <a:cs typeface="Arial" charset="0"/>
        </a:defRPr>
      </a:lvl4pPr>
      <a:lvl5pPr marL="1316037" indent="-2857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Arial" charset="0"/>
          <a:cs typeface="Arial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hreatswitch.com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ni.gov/index.php/ncsc-how-we-work/ncsc-security-executive-agent/ncsc-policy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threatswitch.com/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threatswitch.com/reporting-requirements-resources" TargetMode="Externa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hyperlink" Target="mailto:jake@threatswitch.com" TargetMode="External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jeff@threatswitch.com" TargetMode="External"/><Relationship Id="rId5" Type="http://schemas.openxmlformats.org/officeDocument/2006/relationships/hyperlink" Target="mailto:brian@threatswitch.com" TargetMode="External"/><Relationship Id="rId4" Type="http://schemas.openxmlformats.org/officeDocument/2006/relationships/image" Target="../media/image2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www.threatswitch.com/resources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667299" y="3951075"/>
            <a:ext cx="6841702" cy="6753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rgbClr val="FFFFFF"/>
                </a:solidFill>
              </a:rPr>
              <a:t>John Dillard | </a:t>
            </a:r>
            <a:r>
              <a:rPr lang="en-US" dirty="0">
                <a:solidFill>
                  <a:srgbClr val="FFFFFF"/>
                </a:solidFill>
                <a:hlinkClick r:id="rId3"/>
              </a:rPr>
              <a:t>www.threatswitch.com </a:t>
            </a:r>
            <a:r>
              <a:rPr lang="en-US" dirty="0">
                <a:solidFill>
                  <a:srgbClr val="FFFFFF"/>
                </a:solidFill>
              </a:rPr>
              <a:t>| jdillard@threatswitch.com</a:t>
            </a:r>
          </a:p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B705B79-8369-4FC2-AB63-11E1041ACE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51000" y="3016043"/>
            <a:ext cx="6858000" cy="741554"/>
          </a:xfrm>
        </p:spPr>
        <p:txBody>
          <a:bodyPr/>
          <a:lstStyle/>
          <a:p>
            <a:r>
              <a:rPr lang="en-US" sz="2800" dirty="0"/>
              <a:t>Turn and Face the Strang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39EB5B8-005B-400B-85C2-E3E67D87A0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0385" y="1953122"/>
            <a:ext cx="8379232" cy="835625"/>
          </a:xfrm>
        </p:spPr>
        <p:txBody>
          <a:bodyPr/>
          <a:lstStyle/>
          <a:p>
            <a:r>
              <a:rPr lang="en-US" i="1" dirty="0"/>
              <a:t>Ch-</a:t>
            </a:r>
            <a:r>
              <a:rPr lang="en-US" i="1" dirty="0" err="1"/>
              <a:t>ch</a:t>
            </a:r>
            <a:r>
              <a:rPr lang="en-US" i="1" dirty="0"/>
              <a:t>-</a:t>
            </a:r>
            <a:r>
              <a:rPr lang="en-US" i="1" dirty="0" err="1"/>
              <a:t>ch</a:t>
            </a:r>
            <a:r>
              <a:rPr lang="en-US" i="1" dirty="0"/>
              <a:t>-</a:t>
            </a:r>
            <a:r>
              <a:rPr lang="en-US" i="1" dirty="0" err="1"/>
              <a:t>ch</a:t>
            </a:r>
            <a:r>
              <a:rPr lang="en-US" i="1" dirty="0"/>
              <a:t>-Changes </a:t>
            </a:r>
            <a:br>
              <a:rPr lang="en-US" dirty="0"/>
            </a:br>
            <a:r>
              <a:rPr lang="en-US" dirty="0"/>
              <a:t>to Reporting Requirements</a:t>
            </a:r>
          </a:p>
        </p:txBody>
      </p:sp>
    </p:spTree>
    <p:extLst>
      <p:ext uri="{BB962C8B-B14F-4D97-AF65-F5344CB8AC3E}">
        <p14:creationId xmlns:p14="http://schemas.microsoft.com/office/powerpoint/2010/main" val="325089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50B9AD-691F-4B22-BF72-219993C65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der Threat (versions 1 &amp; 2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AA7982-9953-4B46-927B-6424450EAD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8500" y="1122219"/>
            <a:ext cx="4699410" cy="402525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Gather, integrate, and report </a:t>
            </a:r>
            <a:r>
              <a:rPr lang="en-US" sz="2400" dirty="0"/>
              <a:t>relevant information across the faci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Procedures to access, share, compile, identify, and </a:t>
            </a:r>
            <a:r>
              <a:rPr lang="en-US" sz="2400" b="1" dirty="0"/>
              <a:t>collaborate</a:t>
            </a:r>
            <a:endParaRPr lang="en-US" sz="24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Patterns</a:t>
            </a:r>
            <a:r>
              <a:rPr lang="en-US" sz="2400" dirty="0"/>
              <a:t> of negligence or careless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New ISL </a:t>
            </a:r>
            <a:r>
              <a:rPr lang="en-US" sz="2400" dirty="0"/>
              <a:t>further clarifies and sets stage for enforc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pic>
        <p:nvPicPr>
          <p:cNvPr id="6" name="Content Placeholder 5" descr="A close up of a logo&#10;&#10;Description automatically generated">
            <a:extLst>
              <a:ext uri="{FF2B5EF4-FFF2-40B4-BE49-F238E27FC236}">
                <a16:creationId xmlns:a16="http://schemas.microsoft.com/office/drawing/2014/main" id="{B79ADA75-7B3E-420E-BAB5-CA56B9DB23E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lum bright="70000" contrast="-70000"/>
          </a:blip>
          <a:stretch>
            <a:fillRect/>
          </a:stretch>
        </p:blipFill>
        <p:spPr>
          <a:xfrm>
            <a:off x="5990713" y="1122219"/>
            <a:ext cx="3470787" cy="3470787"/>
          </a:xfrm>
        </p:spPr>
      </p:pic>
    </p:spTree>
    <p:extLst>
      <p:ext uri="{BB962C8B-B14F-4D97-AF65-F5344CB8AC3E}">
        <p14:creationId xmlns:p14="http://schemas.microsoft.com/office/powerpoint/2010/main" val="48872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50B9AD-691F-4B22-BF72-219993C65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D 3 (Underway)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19320BB-B7CB-4716-A401-BD85FF52F0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8499" y="1122219"/>
            <a:ext cx="5092701" cy="4025251"/>
          </a:xfrm>
        </p:spPr>
        <p:txBody>
          <a:bodyPr>
            <a:noAutofit/>
          </a:bodyPr>
          <a:lstStyle/>
          <a:p>
            <a:r>
              <a:rPr lang="en-US" sz="2400" b="1" dirty="0"/>
              <a:t>“Covered Individuals” must report:</a:t>
            </a:r>
          </a:p>
          <a:p>
            <a:endParaRPr lang="en-US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Actions by oth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All unofficial travel – </a:t>
            </a:r>
            <a:r>
              <a:rPr lang="en-US" sz="2400" u="sng" dirty="0"/>
              <a:t>before</a:t>
            </a:r>
            <a:r>
              <a:rPr lang="en-US" sz="2400" dirty="0"/>
              <a:t> the tr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All foreign contac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Extends reporting requirements to Secret and non-critical sensitive positions</a:t>
            </a:r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C5D03E19-D0CA-40BE-8630-E675A6A0243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5355770" y="1251965"/>
            <a:ext cx="3257483" cy="315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50B9AD-691F-4B22-BF72-219993C65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I / NIST 800-171 / DFA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E2B66A-03E8-4E22-A29E-210BBD69A09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8499" y="1278194"/>
            <a:ext cx="4669913" cy="386927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eporting indicators of insider thre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Unlawful, unauthorized, or inappropriate IS activ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Investigation and respon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yber Incid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Information system flaw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Audit records and retention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D5EC1E9-C8D1-4775-916F-1B114B87895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lum bright="70000" contrast="-70000"/>
          </a:blip>
          <a:stretch>
            <a:fillRect/>
          </a:stretch>
        </p:blipFill>
        <p:spPr>
          <a:xfrm>
            <a:off x="6106420" y="1699020"/>
            <a:ext cx="2316959" cy="2316959"/>
          </a:xfrm>
        </p:spPr>
      </p:pic>
    </p:spTree>
    <p:extLst>
      <p:ext uri="{BB962C8B-B14F-4D97-AF65-F5344CB8AC3E}">
        <p14:creationId xmlns:p14="http://schemas.microsoft.com/office/powerpoint/2010/main" val="143111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/>
        </p:nvGraphicFramePr>
        <p:xfrm>
          <a:off x="308216" y="364031"/>
          <a:ext cx="9166198" cy="49869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7751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44DFAFB-4266-4B07-B690-0C3ACE54AFD5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805409" y="1178176"/>
            <a:ext cx="548640" cy="5486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6004" y="1178177"/>
            <a:ext cx="6634587" cy="378145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F8A560"/>
                </a:solidFill>
              </a:rPr>
              <a:t>Cybersecurity Maturity Model Certification (CMMC) </a:t>
            </a:r>
            <a:r>
              <a:rPr lang="en-US" sz="2400" dirty="0"/>
              <a:t>Draft released September 4, 2019</a:t>
            </a:r>
            <a:br>
              <a:rPr lang="en-US" sz="2400" dirty="0"/>
            </a:br>
            <a:endParaRPr lang="en-US" sz="2400" dirty="0"/>
          </a:p>
          <a:p>
            <a:r>
              <a:rPr lang="en-US" sz="2400" b="1" dirty="0">
                <a:solidFill>
                  <a:srgbClr val="F8A560"/>
                </a:solidFill>
              </a:rPr>
              <a:t>SEAD 3 ISL </a:t>
            </a:r>
            <a:r>
              <a:rPr lang="en-US" sz="2400" dirty="0"/>
              <a:t>dramatically increases the scope and who must report information.</a:t>
            </a:r>
            <a:endParaRPr lang="en-US" sz="2400" b="1" dirty="0">
              <a:solidFill>
                <a:srgbClr val="F8A560"/>
              </a:solidFill>
            </a:endParaRPr>
          </a:p>
          <a:p>
            <a:endParaRPr lang="en-US" sz="2400" b="1" dirty="0">
              <a:solidFill>
                <a:srgbClr val="F8A560"/>
              </a:solidFill>
            </a:endParaRPr>
          </a:p>
          <a:p>
            <a:r>
              <a:rPr lang="en-US" sz="2400" b="1" dirty="0">
                <a:solidFill>
                  <a:srgbClr val="F8A560"/>
                </a:solidFill>
              </a:rPr>
              <a:t>RISO (Risk Based Industrial Security Oversight) </a:t>
            </a:r>
            <a:r>
              <a:rPr lang="en-US" sz="2400" dirty="0"/>
              <a:t>requires more reporting on insider threat and risk-based criteria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BCE6E3-9912-4AF3-BCFA-AC38DEE6B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Reporting Requiremen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AE46A85-B33B-4AE9-AF5C-99C6012F310F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1805412" y="3988187"/>
            <a:ext cx="548637" cy="54863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036B7A-B3B8-4A8D-8950-FE1F92283558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1805409" y="2389830"/>
            <a:ext cx="579113" cy="57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79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50B9AD-691F-4B22-BF72-219993C65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304270"/>
            <a:ext cx="8763000" cy="914929"/>
          </a:xfrm>
        </p:spPr>
        <p:txBody>
          <a:bodyPr/>
          <a:lstStyle/>
          <a:p>
            <a:r>
              <a:rPr lang="en-US" dirty="0"/>
              <a:t>CMMC</a:t>
            </a:r>
            <a:br>
              <a:rPr lang="en-US" dirty="0"/>
            </a:br>
            <a:r>
              <a:rPr lang="en-US" sz="2400" i="1" dirty="0"/>
              <a:t>Cybersecurity Maturity Model Certification</a:t>
            </a:r>
            <a:endParaRPr lang="en-US" dirty="0"/>
          </a:p>
        </p:txBody>
      </p:sp>
      <p:pic>
        <p:nvPicPr>
          <p:cNvPr id="7" name="Content Placeholder 6" descr="A picture containing object&#10;&#10;Description automatically generated">
            <a:extLst>
              <a:ext uri="{FF2B5EF4-FFF2-40B4-BE49-F238E27FC236}">
                <a16:creationId xmlns:a16="http://schemas.microsoft.com/office/drawing/2014/main" id="{9211DA9F-52C1-430E-A2BE-B17C4316AF1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lum bright="70000" contrast="-70000"/>
          </a:blip>
          <a:stretch>
            <a:fillRect/>
          </a:stretch>
        </p:blipFill>
        <p:spPr>
          <a:xfrm>
            <a:off x="1098837" y="1672779"/>
            <a:ext cx="2369441" cy="2369441"/>
          </a:xfr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8C9DEA-73ED-45E9-AF64-5404AE5101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45859" y="1111046"/>
            <a:ext cx="5250426" cy="4090220"/>
          </a:xfrm>
        </p:spPr>
        <p:txBody>
          <a:bodyPr>
            <a:normAutofit lnSpcReduction="10000"/>
          </a:bodyPr>
          <a:lstStyle/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ocused on DIB companies </a:t>
            </a:r>
            <a:r>
              <a:rPr lang="en-US" sz="2400" i="1" dirty="0"/>
              <a:t>and their supply chai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Primarily policy and process, NOT technic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Enforced at the contract lev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18 domains with 5 levels of matur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In the “expectation setting stage” and likely will not be enforced until mid-2020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6665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50B9AD-691F-4B22-BF72-219993C65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-based Industrial Security Oversight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AC065A-3570-473C-99D7-97A590D2A34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ormerly DSS in Transi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mprehensive Security Review (CS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The main effect of DSS in Transi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eporting your asse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eporting </a:t>
            </a:r>
            <a:r>
              <a:rPr lang="en-US" sz="2400" b="1" i="1" dirty="0"/>
              <a:t>based on </a:t>
            </a:r>
            <a:r>
              <a:rPr lang="en-US" sz="2400" i="1" dirty="0"/>
              <a:t>your assets</a:t>
            </a:r>
            <a:endParaRPr lang="en-US" sz="2400" dirty="0"/>
          </a:p>
        </p:txBody>
      </p:sp>
      <p:pic>
        <p:nvPicPr>
          <p:cNvPr id="7" name="Content Placeholder 6" descr="A close up of a logo&#10;&#10;Description automatically generated">
            <a:extLst>
              <a:ext uri="{FF2B5EF4-FFF2-40B4-BE49-F238E27FC236}">
                <a16:creationId xmlns:a16="http://schemas.microsoft.com/office/drawing/2014/main" id="{4AD7C6A7-D006-46C2-8A6E-0A3500B5DC8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lum bright="70000" contrast="-70000"/>
          </a:blip>
          <a:stretch>
            <a:fillRect/>
          </a:stretch>
        </p:blipFill>
        <p:spPr>
          <a:xfrm>
            <a:off x="6230781" y="1896446"/>
            <a:ext cx="2439579" cy="2439579"/>
          </a:xfrm>
        </p:spPr>
      </p:pic>
    </p:spTree>
    <p:extLst>
      <p:ext uri="{BB962C8B-B14F-4D97-AF65-F5344CB8AC3E}">
        <p14:creationId xmlns:p14="http://schemas.microsoft.com/office/powerpoint/2010/main" val="780321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50B9AD-691F-4B22-BF72-219993C65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EAD 3 ISL Is Com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531104-5349-498A-B6DA-79A2007853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8500" y="1122219"/>
            <a:ext cx="5338506" cy="402525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Will direct compliance with CC3 including SEAD 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“Covered Individuals” = anyone with </a:t>
            </a:r>
            <a:r>
              <a:rPr lang="en-US" sz="2400" u="sng" dirty="0"/>
              <a:t>any</a:t>
            </a:r>
            <a:r>
              <a:rPr lang="en-US" sz="2400" dirty="0"/>
              <a:t> access (C, S, TS, SCI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larifications provided that are specific to indust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u="sng" dirty="0"/>
              <a:t>All</a:t>
            </a:r>
            <a:r>
              <a:rPr lang="en-US" sz="2400" dirty="0"/>
              <a:t> Foreign Travel for </a:t>
            </a:r>
            <a:r>
              <a:rPr lang="en-US" sz="2400" b="1" u="sng" dirty="0"/>
              <a:t>all</a:t>
            </a:r>
            <a:r>
              <a:rPr lang="en-US" sz="2400" dirty="0"/>
              <a:t> covered individu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eportable actions by oth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3EA050-3D79-4547-BE7B-F40C6416C817}"/>
              </a:ext>
            </a:extLst>
          </p:cNvPr>
          <p:cNvSpPr/>
          <p:nvPr/>
        </p:nvSpPr>
        <p:spPr>
          <a:xfrm>
            <a:off x="2540000" y="4768605"/>
            <a:ext cx="5080000" cy="52450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hlinkClick r:id="rId2"/>
              </a:rPr>
              <a:t>https://www.dni.gov/index.php/ncsc-how-we-work/ncsc-security-executive-agent/ncsc-policy</a:t>
            </a:r>
            <a:endParaRPr lang="en-US" dirty="0"/>
          </a:p>
        </p:txBody>
      </p:sp>
      <p:pic>
        <p:nvPicPr>
          <p:cNvPr id="9" name="Content Placeholder 8" descr="Siren">
            <a:extLst>
              <a:ext uri="{FF2B5EF4-FFF2-40B4-BE49-F238E27FC236}">
                <a16:creationId xmlns:a16="http://schemas.microsoft.com/office/drawing/2014/main" id="{A84337E5-433D-434F-9662-AB327AB7FC3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65786" y="1122219"/>
            <a:ext cx="2904987" cy="2904987"/>
          </a:xfrm>
        </p:spPr>
      </p:pic>
    </p:spTree>
    <p:extLst>
      <p:ext uri="{BB962C8B-B14F-4D97-AF65-F5344CB8AC3E}">
        <p14:creationId xmlns:p14="http://schemas.microsoft.com/office/powerpoint/2010/main" val="2724851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50B9AD-691F-4B22-BF72-219993C65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onus Requirement</a:t>
            </a:r>
            <a:r>
              <a:rPr lang="en-US" dirty="0"/>
              <a:t>: The 4</a:t>
            </a:r>
            <a:r>
              <a:rPr lang="en-US" baseline="30000" dirty="0"/>
              <a:t>th</a:t>
            </a:r>
            <a:r>
              <a:rPr lang="en-US" dirty="0"/>
              <a:t> Pilla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AC065A-3570-473C-99D7-97A590D2A34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ecurity evaluated on par with cost, schedule, and performance in acquisi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Beyond NISPOM, including CUI, cybersecurity (including pending maturity model), supply cha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Makes COs another evaluator of security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i="1" dirty="0"/>
              <a:t>May</a:t>
            </a:r>
            <a:r>
              <a:rPr lang="en-US" sz="2400" dirty="0"/>
              <a:t> require ongoing communication with COs</a:t>
            </a:r>
            <a:endParaRPr lang="en-US" sz="2400" b="1" i="1" dirty="0"/>
          </a:p>
        </p:txBody>
      </p:sp>
      <p:pic>
        <p:nvPicPr>
          <p:cNvPr id="8" name="Content Placeholder 5">
            <a:extLst>
              <a:ext uri="{FF2B5EF4-FFF2-40B4-BE49-F238E27FC236}">
                <a16:creationId xmlns:a16="http://schemas.microsoft.com/office/drawing/2014/main" id="{BF026844-D7B9-444D-BB08-944FA616939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5994807" y="1729298"/>
            <a:ext cx="3050870" cy="3050870"/>
          </a:xfrm>
        </p:spPr>
      </p:pic>
    </p:spTree>
    <p:extLst>
      <p:ext uri="{BB962C8B-B14F-4D97-AF65-F5344CB8AC3E}">
        <p14:creationId xmlns:p14="http://schemas.microsoft.com/office/powerpoint/2010/main" val="26050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>
            <a:extLst>
              <a:ext uri="{FF2B5EF4-FFF2-40B4-BE49-F238E27FC236}">
                <a16:creationId xmlns:a16="http://schemas.microsoft.com/office/drawing/2014/main" id="{B39CD846-E788-495F-836F-D1F7D3B21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587" y="964036"/>
            <a:ext cx="5228825" cy="3342493"/>
          </a:xfrm>
          <a:noFill/>
        </p:spPr>
        <p:txBody>
          <a:bodyPr vert="horz" lIns="91440" tIns="45720" rIns="91440" bIns="45720" rtlCol="0" anchor="b">
            <a:normAutofit/>
          </a:bodyPr>
          <a:lstStyle/>
          <a:p>
            <a:pPr defTabSz="914400"/>
            <a:r>
              <a:rPr lang="en-US" sz="5600" dirty="0">
                <a:latin typeface="Futura Std Book"/>
                <a:ea typeface="+mj-ea"/>
                <a:cs typeface="+mj-cs"/>
              </a:rPr>
              <a:t>Turn and face the strange</a:t>
            </a:r>
          </a:p>
        </p:txBody>
      </p:sp>
      <p:pic>
        <p:nvPicPr>
          <p:cNvPr id="23" name="Content Placeholder 13">
            <a:extLst>
              <a:ext uri="{FF2B5EF4-FFF2-40B4-BE49-F238E27FC236}">
                <a16:creationId xmlns:a16="http://schemas.microsoft.com/office/drawing/2014/main" id="{541362AB-F8C5-42EE-AEE3-7ABE485283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801"/>
          <a:stretch/>
        </p:blipFill>
        <p:spPr>
          <a:xfrm>
            <a:off x="20" y="10"/>
            <a:ext cx="3878560" cy="5714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3717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John</a:t>
            </a:r>
          </a:p>
        </p:txBody>
      </p:sp>
      <p:pic>
        <p:nvPicPr>
          <p:cNvPr id="18" name="Content Placeholder 11"/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650" y="1259604"/>
            <a:ext cx="3886200" cy="3751418"/>
          </a:xfrm>
        </p:spPr>
      </p:pic>
      <p:sp>
        <p:nvSpPr>
          <p:cNvPr id="21" name="Rectangle: Rounded Corners 13"/>
          <p:cNvSpPr/>
          <p:nvPr/>
        </p:nvSpPr>
        <p:spPr>
          <a:xfrm>
            <a:off x="5154142" y="1259604"/>
            <a:ext cx="4317357" cy="1186248"/>
          </a:xfrm>
          <a:prstGeom prst="rect">
            <a:avLst/>
          </a:prstGeom>
          <a:solidFill>
            <a:schemeClr val="accent1">
              <a:alpha val="81961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31775"/>
            <a:r>
              <a:rPr lang="en-US" sz="2000" dirty="0">
                <a:solidFill>
                  <a:srgbClr val="FFFFFF"/>
                </a:solidFill>
                <a:latin typeface="Futura Std Book"/>
              </a:rPr>
              <a:t>CIA; Navy; SRA Executive; RANE Expert; Founder of 2 Security Companies</a:t>
            </a:r>
          </a:p>
        </p:txBody>
      </p:sp>
      <p:sp>
        <p:nvSpPr>
          <p:cNvPr id="23" name="Rectangle: Rounded Corners 14"/>
          <p:cNvSpPr/>
          <p:nvPr/>
        </p:nvSpPr>
        <p:spPr>
          <a:xfrm>
            <a:off x="5154142" y="2542189"/>
            <a:ext cx="4317357" cy="1186248"/>
          </a:xfrm>
          <a:prstGeom prst="rect">
            <a:avLst/>
          </a:prstGeom>
          <a:solidFill>
            <a:schemeClr val="accent1">
              <a:alpha val="81961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31775"/>
            <a:r>
              <a:rPr lang="en-US" sz="2000" dirty="0">
                <a:solidFill>
                  <a:srgbClr val="FFFFFF"/>
                </a:solidFill>
                <a:latin typeface="Futura Std Book"/>
              </a:rPr>
              <a:t>Former FSO and US Navy Security Manager</a:t>
            </a:r>
          </a:p>
        </p:txBody>
      </p:sp>
      <p:sp>
        <p:nvSpPr>
          <p:cNvPr id="24" name="Rectangle: Rounded Corners 15"/>
          <p:cNvSpPr/>
          <p:nvPr/>
        </p:nvSpPr>
        <p:spPr>
          <a:xfrm>
            <a:off x="5154142" y="3824774"/>
            <a:ext cx="4317357" cy="1186248"/>
          </a:xfrm>
          <a:prstGeom prst="rect">
            <a:avLst/>
          </a:prstGeom>
          <a:solidFill>
            <a:schemeClr val="accent1">
              <a:alpha val="81961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31775"/>
            <a:r>
              <a:rPr lang="en-US" sz="2000" dirty="0">
                <a:solidFill>
                  <a:srgbClr val="FFFFFF"/>
                </a:solidFill>
                <a:latin typeface="Futura Std Book"/>
              </a:rPr>
              <a:t>Currently CEO of </a:t>
            </a:r>
            <a:r>
              <a:rPr lang="en-US" sz="2000" dirty="0" err="1">
                <a:solidFill>
                  <a:srgbClr val="FFFFFF"/>
                </a:solidFill>
                <a:latin typeface="Futura Std Book"/>
                <a:hlinkClick r:id="rId4"/>
              </a:rPr>
              <a:t>ThreatSwitch</a:t>
            </a:r>
            <a:r>
              <a:rPr lang="en-US" sz="2000" dirty="0">
                <a:solidFill>
                  <a:srgbClr val="FFFFFF"/>
                </a:solidFill>
                <a:latin typeface="Futura Std Book"/>
              </a:rPr>
              <a:t>, focused on software to help cleared federal contractors</a:t>
            </a:r>
          </a:p>
        </p:txBody>
      </p:sp>
    </p:spTree>
    <p:extLst>
      <p:ext uri="{BB962C8B-B14F-4D97-AF65-F5344CB8AC3E}">
        <p14:creationId xmlns:p14="http://schemas.microsoft.com/office/powerpoint/2010/main" val="98229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reporting eng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6C1D41-F6E9-414C-928D-6C39CEE45700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2907487" y="1912285"/>
            <a:ext cx="609604" cy="6096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B1E9D47-6312-4AF3-93F3-8D0080307349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2297883" y="1375935"/>
            <a:ext cx="609604" cy="6096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E589FE-DE59-4D7C-9749-619F849EE946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2297883" y="2521889"/>
            <a:ext cx="609604" cy="6096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2A8F114-F4DE-4840-876D-D456AD635338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688279" y="1912285"/>
            <a:ext cx="609604" cy="60960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3157738-9D6F-4B30-8392-8E16D809F921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7719050" y="2369869"/>
            <a:ext cx="528289" cy="52828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D8B93F-48CF-42A7-AC3E-BCEE3FFE13AB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7109445" y="1478817"/>
            <a:ext cx="609604" cy="60960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2246C1F-649C-4951-8E43-E1D58EFCEA74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4422217" y="1783619"/>
            <a:ext cx="1172498" cy="117249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D2ABC0B-4E6E-4918-891E-A98508B372F7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6653742" y="2257745"/>
            <a:ext cx="589277" cy="589277"/>
          </a:xfrm>
          <a:prstGeom prst="rect">
            <a:avLst/>
          </a:prstGeom>
        </p:spPr>
      </p:pic>
      <p:sp>
        <p:nvSpPr>
          <p:cNvPr id="21" name="Text Box 4">
            <a:extLst>
              <a:ext uri="{FF2B5EF4-FFF2-40B4-BE49-F238E27FC236}">
                <a16:creationId xmlns:a16="http://schemas.microsoft.com/office/drawing/2014/main" id="{87DA9AE7-C6E0-4C8E-B4E0-CA8232A1330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60268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Unfettered</a:t>
            </a:r>
            <a:b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</a:br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Communication</a:t>
            </a:r>
          </a:p>
        </p:txBody>
      </p:sp>
      <p:sp>
        <p:nvSpPr>
          <p:cNvPr id="22" name="Text Box 4">
            <a:extLst>
              <a:ext uri="{FF2B5EF4-FFF2-40B4-BE49-F238E27FC236}">
                <a16:creationId xmlns:a16="http://schemas.microsoft.com/office/drawing/2014/main" id="{244E5DDE-B5CE-49DA-BCAF-9C7B7A9FA0C3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071830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Psychological Safety</a:t>
            </a:r>
          </a:p>
        </p:txBody>
      </p:sp>
    </p:spTree>
    <p:extLst>
      <p:ext uri="{BB962C8B-B14F-4D97-AF65-F5344CB8AC3E}">
        <p14:creationId xmlns:p14="http://schemas.microsoft.com/office/powerpoint/2010/main" val="212822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, Eliminate Fri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6C1D41-F6E9-414C-928D-6C39CEE45700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2907487" y="1912285"/>
            <a:ext cx="609604" cy="6096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B1E9D47-6312-4AF3-93F3-8D0080307349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2297883" y="1375935"/>
            <a:ext cx="609604" cy="6096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E589FE-DE59-4D7C-9749-619F849EE94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2297883" y="2521889"/>
            <a:ext cx="609604" cy="6096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2A8F114-F4DE-4840-876D-D456AD63533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1688279" y="1912285"/>
            <a:ext cx="609604" cy="609604"/>
          </a:xfrm>
          <a:prstGeom prst="rect">
            <a:avLst/>
          </a:prstGeom>
        </p:spPr>
      </p:pic>
      <p:sp>
        <p:nvSpPr>
          <p:cNvPr id="21" name="Text Box 4">
            <a:extLst>
              <a:ext uri="{FF2B5EF4-FFF2-40B4-BE49-F238E27FC236}">
                <a16:creationId xmlns:a16="http://schemas.microsoft.com/office/drawing/2014/main" id="{87DA9AE7-C6E0-4C8E-B4E0-CA8232A1330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60268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Unfettered</a:t>
            </a:r>
            <a:b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</a:br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Communicatio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2437469-35C7-49CF-A886-0291D3A892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4707" y="1047404"/>
            <a:ext cx="4468643" cy="3972068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In security, unfettered communication means </a:t>
            </a:r>
            <a:r>
              <a:rPr lang="en-US" sz="2600" b="1" dirty="0">
                <a:solidFill>
                  <a:srgbClr val="F8A560"/>
                </a:solidFill>
              </a:rPr>
              <a:t>minimizing barriers </a:t>
            </a:r>
            <a:r>
              <a:rPr lang="en-US" sz="2400" dirty="0"/>
              <a:t>to communicating about assets, threats, and vulnerabilities. </a:t>
            </a:r>
          </a:p>
          <a:p>
            <a:endParaRPr lang="en-US" sz="2400" dirty="0"/>
          </a:p>
          <a:p>
            <a:r>
              <a:rPr lang="en-US" sz="2400" dirty="0"/>
              <a:t>Every step, form, hassle, hoop, regulation, or delay </a:t>
            </a:r>
            <a:r>
              <a:rPr lang="en-US" sz="2600" b="1" dirty="0">
                <a:solidFill>
                  <a:srgbClr val="F8A560"/>
                </a:solidFill>
              </a:rPr>
              <a:t>reduces collaboration and increases risk</a:t>
            </a:r>
            <a:r>
              <a:rPr lang="en-US" sz="2400" b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62662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fettering 101: Peop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6C1D41-F6E9-414C-928D-6C39CEE45700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2907487" y="1912285"/>
            <a:ext cx="609604" cy="6096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B1E9D47-6312-4AF3-93F3-8D0080307349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2297883" y="1375935"/>
            <a:ext cx="609604" cy="6096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E589FE-DE59-4D7C-9749-619F849EE94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2297883" y="2521889"/>
            <a:ext cx="609604" cy="6096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2A8F114-F4DE-4840-876D-D456AD63533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1688279" y="1912285"/>
            <a:ext cx="609604" cy="609604"/>
          </a:xfrm>
          <a:prstGeom prst="rect">
            <a:avLst/>
          </a:prstGeom>
        </p:spPr>
      </p:pic>
      <p:sp>
        <p:nvSpPr>
          <p:cNvPr id="21" name="Text Box 4">
            <a:extLst>
              <a:ext uri="{FF2B5EF4-FFF2-40B4-BE49-F238E27FC236}">
                <a16:creationId xmlns:a16="http://schemas.microsoft.com/office/drawing/2014/main" id="{87DA9AE7-C6E0-4C8E-B4E0-CA8232A1330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60268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Unfettered</a:t>
            </a:r>
            <a:b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</a:br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Communicatio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2437469-35C7-49CF-A886-0291D3A892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4707" y="1047404"/>
            <a:ext cx="4468643" cy="3972068"/>
          </a:xfrm>
        </p:spPr>
        <p:txBody>
          <a:bodyPr>
            <a:normAutofit fontScale="77500" lnSpcReduction="20000"/>
          </a:bodyPr>
          <a:lstStyle/>
          <a:p>
            <a:r>
              <a:rPr lang="en-US" sz="3100" dirty="0"/>
              <a:t>The first step in unfettering your communication is about </a:t>
            </a:r>
            <a:r>
              <a:rPr lang="en-US" sz="3100" b="1" dirty="0">
                <a:solidFill>
                  <a:srgbClr val="F8A560"/>
                </a:solidFill>
              </a:rPr>
              <a:t>people</a:t>
            </a:r>
            <a:r>
              <a:rPr lang="en-US" sz="3100" dirty="0"/>
              <a:t>: </a:t>
            </a:r>
            <a:r>
              <a:rPr lang="en-US" sz="3100" b="1" dirty="0"/>
              <a:t>who</a:t>
            </a:r>
            <a:r>
              <a:rPr lang="en-US" sz="3100" dirty="0"/>
              <a:t> are you collaborating with, and </a:t>
            </a:r>
            <a:r>
              <a:rPr lang="en-US" sz="3100" b="1" dirty="0"/>
              <a:t>how</a:t>
            </a:r>
            <a:r>
              <a:rPr lang="en-US" sz="3100" dirty="0"/>
              <a:t>?</a:t>
            </a:r>
          </a:p>
          <a:p>
            <a:endParaRPr lang="en-US" sz="2400" dirty="0"/>
          </a:p>
          <a:p>
            <a:r>
              <a:rPr lang="en-US" sz="2400" dirty="0"/>
              <a:t>Employees</a:t>
            </a:r>
          </a:p>
          <a:p>
            <a:r>
              <a:rPr lang="en-US" sz="2400" dirty="0"/>
              <a:t>Peers</a:t>
            </a:r>
          </a:p>
          <a:p>
            <a:r>
              <a:rPr lang="en-US" sz="2400" dirty="0"/>
              <a:t>DSS</a:t>
            </a:r>
          </a:p>
          <a:p>
            <a:r>
              <a:rPr lang="en-US" sz="2400" dirty="0"/>
              <a:t>IC Customers</a:t>
            </a:r>
          </a:p>
          <a:p>
            <a:r>
              <a:rPr lang="en-US" sz="2400" dirty="0"/>
              <a:t>Contracting Officers</a:t>
            </a:r>
          </a:p>
          <a:p>
            <a:r>
              <a:rPr lang="en-US" sz="2400" dirty="0"/>
              <a:t>Executives</a:t>
            </a:r>
          </a:p>
          <a:p>
            <a:r>
              <a:rPr lang="en-US" sz="2400" dirty="0"/>
              <a:t>Primes, Vendors and Subs</a:t>
            </a:r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426706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fettering 101: Proce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6C1D41-F6E9-414C-928D-6C39CEE45700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2907487" y="1912285"/>
            <a:ext cx="609604" cy="6096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B1E9D47-6312-4AF3-93F3-8D0080307349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2297883" y="1375935"/>
            <a:ext cx="609604" cy="6096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E589FE-DE59-4D7C-9749-619F849EE94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2297883" y="2521889"/>
            <a:ext cx="609604" cy="6096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2A8F114-F4DE-4840-876D-D456AD63533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1688279" y="1912285"/>
            <a:ext cx="609604" cy="609604"/>
          </a:xfrm>
          <a:prstGeom prst="rect">
            <a:avLst/>
          </a:prstGeom>
        </p:spPr>
      </p:pic>
      <p:sp>
        <p:nvSpPr>
          <p:cNvPr id="21" name="Text Box 4">
            <a:extLst>
              <a:ext uri="{FF2B5EF4-FFF2-40B4-BE49-F238E27FC236}">
                <a16:creationId xmlns:a16="http://schemas.microsoft.com/office/drawing/2014/main" id="{87DA9AE7-C6E0-4C8E-B4E0-CA8232A1330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60268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Unfettered</a:t>
            </a:r>
            <a:b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</a:br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Communicatio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2437469-35C7-49CF-A886-0291D3A892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4707" y="1047404"/>
            <a:ext cx="4992416" cy="3972068"/>
          </a:xfrm>
        </p:spPr>
        <p:txBody>
          <a:bodyPr>
            <a:normAutofit lnSpcReduction="10000"/>
          </a:bodyPr>
          <a:lstStyle/>
          <a:p>
            <a:r>
              <a:rPr lang="en-US" sz="2600" dirty="0"/>
              <a:t>The second step in unfettering your communication requires triaging your </a:t>
            </a:r>
            <a:r>
              <a:rPr lang="en-US" sz="2800" b="1" dirty="0">
                <a:solidFill>
                  <a:srgbClr val="F8A560"/>
                </a:solidFill>
              </a:rPr>
              <a:t>process</a:t>
            </a:r>
            <a:r>
              <a:rPr lang="en-US" sz="2600" dirty="0"/>
              <a:t>. </a:t>
            </a:r>
          </a:p>
          <a:p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What are the steps in each collaboration process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Which steps can be eliminated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Which steps can be optimized?</a:t>
            </a:r>
          </a:p>
        </p:txBody>
      </p:sp>
    </p:spTree>
    <p:extLst>
      <p:ext uri="{BB962C8B-B14F-4D97-AF65-F5344CB8AC3E}">
        <p14:creationId xmlns:p14="http://schemas.microsoft.com/office/powerpoint/2010/main" val="376967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fettering 101: Technolog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6C1D41-F6E9-414C-928D-6C39CEE45700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2907487" y="1912285"/>
            <a:ext cx="609604" cy="6096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B1E9D47-6312-4AF3-93F3-8D0080307349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2297883" y="1375935"/>
            <a:ext cx="609604" cy="6096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E589FE-DE59-4D7C-9749-619F849EE94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2297883" y="2521889"/>
            <a:ext cx="609604" cy="6096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2A8F114-F4DE-4840-876D-D456AD63533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1688279" y="1912285"/>
            <a:ext cx="609604" cy="609604"/>
          </a:xfrm>
          <a:prstGeom prst="rect">
            <a:avLst/>
          </a:prstGeom>
        </p:spPr>
      </p:pic>
      <p:sp>
        <p:nvSpPr>
          <p:cNvPr id="21" name="Text Box 4">
            <a:extLst>
              <a:ext uri="{FF2B5EF4-FFF2-40B4-BE49-F238E27FC236}">
                <a16:creationId xmlns:a16="http://schemas.microsoft.com/office/drawing/2014/main" id="{87DA9AE7-C6E0-4C8E-B4E0-CA8232A1330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60268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Unfettered</a:t>
            </a:r>
            <a:b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</a:br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Communicatio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2437469-35C7-49CF-A886-0291D3A892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4707" y="1150374"/>
            <a:ext cx="4468643" cy="3869098"/>
          </a:xfrm>
        </p:spPr>
        <p:txBody>
          <a:bodyPr>
            <a:normAutofit fontScale="92500" lnSpcReduction="20000"/>
          </a:bodyPr>
          <a:lstStyle/>
          <a:p>
            <a:r>
              <a:rPr lang="en-US" sz="2600" dirty="0"/>
              <a:t>Finally, the complexity of today’s security program makes using the right </a:t>
            </a:r>
            <a:r>
              <a:rPr lang="en-US" sz="2800" b="1" dirty="0">
                <a:solidFill>
                  <a:srgbClr val="F8A560"/>
                </a:solidFill>
              </a:rPr>
              <a:t>technology</a:t>
            </a:r>
            <a:r>
              <a:rPr lang="en-US" sz="2600" dirty="0"/>
              <a:t> critical.</a:t>
            </a:r>
          </a:p>
          <a:p>
            <a:endParaRPr lang="en-US" sz="2600" dirty="0"/>
          </a:p>
          <a:p>
            <a:r>
              <a:rPr lang="en-US" sz="2600" dirty="0"/>
              <a:t>Do our tool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Centralize information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Automate workflows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Allow collaboration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Accessible everywhere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Include everyon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4076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, Make it Saf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157738-9D6F-4B30-8392-8E16D809F921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7835161" y="2257744"/>
            <a:ext cx="914400" cy="9144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D8B93F-48CF-42A7-AC3E-BCEE3FFE13AB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6961422" y="970819"/>
            <a:ext cx="914400" cy="914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D2ABC0B-4E6E-4918-891E-A98508B372F7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6087684" y="2257744"/>
            <a:ext cx="914400" cy="914400"/>
          </a:xfrm>
          <a:prstGeom prst="rect">
            <a:avLst/>
          </a:prstGeom>
        </p:spPr>
      </p:pic>
      <p:sp>
        <p:nvSpPr>
          <p:cNvPr id="22" name="Text Box 4">
            <a:extLst>
              <a:ext uri="{FF2B5EF4-FFF2-40B4-BE49-F238E27FC236}">
                <a16:creationId xmlns:a16="http://schemas.microsoft.com/office/drawing/2014/main" id="{244E5DDE-B5CE-49DA-BCAF-9C7B7A9FA0C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71830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Psychological Safety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3B754106-1640-4626-8927-6F045BB89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3839" y="1047404"/>
            <a:ext cx="4752260" cy="3972068"/>
          </a:xfrm>
        </p:spPr>
        <p:txBody>
          <a:bodyPr>
            <a:normAutofit fontScale="92500" lnSpcReduction="20000"/>
          </a:bodyPr>
          <a:lstStyle/>
          <a:p>
            <a:r>
              <a:rPr lang="en-US" sz="3000" dirty="0"/>
              <a:t>In security, psychological safety means </a:t>
            </a:r>
            <a:r>
              <a:rPr lang="en-US" sz="3000" b="1" dirty="0">
                <a:solidFill>
                  <a:srgbClr val="F8A560"/>
                </a:solidFill>
              </a:rPr>
              <a:t>maximizing trust</a:t>
            </a:r>
            <a:r>
              <a:rPr lang="en-US" sz="3000" b="1" dirty="0"/>
              <a:t>.</a:t>
            </a:r>
          </a:p>
          <a:p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Collaborator, not adversary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“Just like me”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Anticipate reaction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Curiosity, not blam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Ask for feedback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Measure safety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96367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ychological Safety 10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157738-9D6F-4B30-8392-8E16D809F921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7835161" y="2257744"/>
            <a:ext cx="914400" cy="9144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D8B93F-48CF-42A7-AC3E-BCEE3FFE13AB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6961422" y="970819"/>
            <a:ext cx="914400" cy="914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D2ABC0B-4E6E-4918-891E-A98508B372F7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6087684" y="2257744"/>
            <a:ext cx="914400" cy="914400"/>
          </a:xfrm>
          <a:prstGeom prst="rect">
            <a:avLst/>
          </a:prstGeom>
        </p:spPr>
      </p:pic>
      <p:sp>
        <p:nvSpPr>
          <p:cNvPr id="22" name="Text Box 4">
            <a:extLst>
              <a:ext uri="{FF2B5EF4-FFF2-40B4-BE49-F238E27FC236}">
                <a16:creationId xmlns:a16="http://schemas.microsoft.com/office/drawing/2014/main" id="{244E5DDE-B5CE-49DA-BCAF-9C7B7A9FA0C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71830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Psychological Safety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3B754106-1640-4626-8927-6F045BB89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3839" y="1047404"/>
            <a:ext cx="4752260" cy="3972068"/>
          </a:xfrm>
        </p:spPr>
        <p:txBody>
          <a:bodyPr>
            <a:normAutofit/>
          </a:bodyPr>
          <a:lstStyle/>
          <a:p>
            <a:endParaRPr lang="en-US" sz="3200" b="1" dirty="0">
              <a:solidFill>
                <a:srgbClr val="F8A560"/>
              </a:solidFill>
            </a:endParaRPr>
          </a:p>
          <a:p>
            <a:r>
              <a:rPr lang="en-US" sz="3200" b="1" dirty="0">
                <a:solidFill>
                  <a:srgbClr val="F8A560"/>
                </a:solidFill>
              </a:rPr>
              <a:t>Collaborator, not adversary</a:t>
            </a:r>
          </a:p>
          <a:p>
            <a:endParaRPr lang="en-US" sz="2600" b="1" dirty="0">
              <a:solidFill>
                <a:srgbClr val="F8A560"/>
              </a:solidFill>
            </a:endParaRPr>
          </a:p>
          <a:p>
            <a:r>
              <a:rPr lang="en-US" sz="2800" i="1" dirty="0"/>
              <a:t>Everyone hates losing, so don’t turn anyone into a loser.</a:t>
            </a:r>
          </a:p>
        </p:txBody>
      </p:sp>
    </p:spTree>
    <p:extLst>
      <p:ext uri="{BB962C8B-B14F-4D97-AF65-F5344CB8AC3E}">
        <p14:creationId xmlns:p14="http://schemas.microsoft.com/office/powerpoint/2010/main" val="44403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ychological Safety 10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157738-9D6F-4B30-8392-8E16D809F921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7835161" y="2257744"/>
            <a:ext cx="914400" cy="9144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D8B93F-48CF-42A7-AC3E-BCEE3FFE13AB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6961422" y="970819"/>
            <a:ext cx="914400" cy="914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D2ABC0B-4E6E-4918-891E-A98508B372F7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6087684" y="2257744"/>
            <a:ext cx="914400" cy="914400"/>
          </a:xfrm>
          <a:prstGeom prst="rect">
            <a:avLst/>
          </a:prstGeom>
        </p:spPr>
      </p:pic>
      <p:sp>
        <p:nvSpPr>
          <p:cNvPr id="22" name="Text Box 4">
            <a:extLst>
              <a:ext uri="{FF2B5EF4-FFF2-40B4-BE49-F238E27FC236}">
                <a16:creationId xmlns:a16="http://schemas.microsoft.com/office/drawing/2014/main" id="{244E5DDE-B5CE-49DA-BCAF-9C7B7A9FA0C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71830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Psychological Safety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3B754106-1640-4626-8927-6F045BB89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3839" y="1047404"/>
            <a:ext cx="4350641" cy="3972068"/>
          </a:xfrm>
        </p:spPr>
        <p:txBody>
          <a:bodyPr>
            <a:normAutofit/>
          </a:bodyPr>
          <a:lstStyle/>
          <a:p>
            <a:endParaRPr lang="en-US" sz="3200" b="1" dirty="0">
              <a:solidFill>
                <a:srgbClr val="F8A560"/>
              </a:solidFill>
            </a:endParaRPr>
          </a:p>
          <a:p>
            <a:r>
              <a:rPr lang="en-US" sz="3200" b="1" dirty="0">
                <a:solidFill>
                  <a:srgbClr val="F8A560"/>
                </a:solidFill>
              </a:rPr>
              <a:t>Just Like Me</a:t>
            </a:r>
          </a:p>
          <a:p>
            <a:endParaRPr lang="en-US" sz="2800" dirty="0"/>
          </a:p>
          <a:p>
            <a:r>
              <a:rPr lang="en-US" sz="2800" i="1" dirty="0"/>
              <a:t>Speak human to human. </a:t>
            </a:r>
          </a:p>
        </p:txBody>
      </p:sp>
    </p:spTree>
    <p:extLst>
      <p:ext uri="{BB962C8B-B14F-4D97-AF65-F5344CB8AC3E}">
        <p14:creationId xmlns:p14="http://schemas.microsoft.com/office/powerpoint/2010/main" val="128262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ychological Safety 10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157738-9D6F-4B30-8392-8E16D809F921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7835161" y="2257744"/>
            <a:ext cx="914400" cy="9144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D8B93F-48CF-42A7-AC3E-BCEE3FFE13AB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6961422" y="970819"/>
            <a:ext cx="914400" cy="914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D2ABC0B-4E6E-4918-891E-A98508B372F7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6087684" y="2257744"/>
            <a:ext cx="914400" cy="914400"/>
          </a:xfrm>
          <a:prstGeom prst="rect">
            <a:avLst/>
          </a:prstGeom>
        </p:spPr>
      </p:pic>
      <p:sp>
        <p:nvSpPr>
          <p:cNvPr id="22" name="Text Box 4">
            <a:extLst>
              <a:ext uri="{FF2B5EF4-FFF2-40B4-BE49-F238E27FC236}">
                <a16:creationId xmlns:a16="http://schemas.microsoft.com/office/drawing/2014/main" id="{244E5DDE-B5CE-49DA-BCAF-9C7B7A9FA0C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71830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Psychological Safety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3B754106-1640-4626-8927-6F045BB89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3839" y="1047404"/>
            <a:ext cx="4480560" cy="3972068"/>
          </a:xfrm>
        </p:spPr>
        <p:txBody>
          <a:bodyPr>
            <a:normAutofit/>
          </a:bodyPr>
          <a:lstStyle/>
          <a:p>
            <a:endParaRPr lang="en-US" sz="3200" b="1" dirty="0">
              <a:solidFill>
                <a:srgbClr val="F8A560"/>
              </a:solidFill>
            </a:endParaRPr>
          </a:p>
          <a:p>
            <a:r>
              <a:rPr lang="en-US" sz="3200" b="1" dirty="0">
                <a:solidFill>
                  <a:srgbClr val="F8A560"/>
                </a:solidFill>
              </a:rPr>
              <a:t>Anticipate reactions</a:t>
            </a:r>
          </a:p>
          <a:p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i="1" dirty="0"/>
              <a:t>What are my main points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i="1" dirty="0"/>
              <a:t>How will they respond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i="1" dirty="0"/>
              <a:t>How will I respond to each of those scenarios?</a:t>
            </a:r>
          </a:p>
        </p:txBody>
      </p:sp>
    </p:spTree>
    <p:extLst>
      <p:ext uri="{BB962C8B-B14F-4D97-AF65-F5344CB8AC3E}">
        <p14:creationId xmlns:p14="http://schemas.microsoft.com/office/powerpoint/2010/main" val="1647902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ychological Safety 10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157738-9D6F-4B30-8392-8E16D809F921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7835161" y="2257744"/>
            <a:ext cx="914400" cy="9144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D8B93F-48CF-42A7-AC3E-BCEE3FFE13AB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6961422" y="970819"/>
            <a:ext cx="914400" cy="914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D2ABC0B-4E6E-4918-891E-A98508B372F7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6087684" y="2257744"/>
            <a:ext cx="914400" cy="914400"/>
          </a:xfrm>
          <a:prstGeom prst="rect">
            <a:avLst/>
          </a:prstGeom>
        </p:spPr>
      </p:pic>
      <p:sp>
        <p:nvSpPr>
          <p:cNvPr id="22" name="Text Box 4">
            <a:extLst>
              <a:ext uri="{FF2B5EF4-FFF2-40B4-BE49-F238E27FC236}">
                <a16:creationId xmlns:a16="http://schemas.microsoft.com/office/drawing/2014/main" id="{244E5DDE-B5CE-49DA-BCAF-9C7B7A9FA0C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71830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Psychological Safety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3B754106-1640-4626-8927-6F045BB89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3839" y="1047404"/>
            <a:ext cx="4480560" cy="3972068"/>
          </a:xfrm>
        </p:spPr>
        <p:txBody>
          <a:bodyPr>
            <a:normAutofit/>
          </a:bodyPr>
          <a:lstStyle/>
          <a:p>
            <a:endParaRPr lang="en-US" sz="3200" b="1" dirty="0">
              <a:solidFill>
                <a:srgbClr val="F8A560"/>
              </a:solidFill>
            </a:endParaRPr>
          </a:p>
          <a:p>
            <a:r>
              <a:rPr lang="en-US" sz="3200" b="1" dirty="0">
                <a:solidFill>
                  <a:srgbClr val="F8A560"/>
                </a:solidFill>
              </a:rPr>
              <a:t>Curiosity, not blame</a:t>
            </a:r>
          </a:p>
          <a:p>
            <a:endParaRPr lang="en-US" sz="2800" dirty="0"/>
          </a:p>
          <a:p>
            <a:r>
              <a:rPr lang="en-US" sz="2800" i="1" dirty="0"/>
              <a:t>Do not become someone else’s saber-toothed tiger</a:t>
            </a:r>
          </a:p>
        </p:txBody>
      </p:sp>
    </p:spTree>
    <p:extLst>
      <p:ext uri="{BB962C8B-B14F-4D97-AF65-F5344CB8AC3E}">
        <p14:creationId xmlns:p14="http://schemas.microsoft.com/office/powerpoint/2010/main" val="6814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FBEA3A0-BAC3-4889-82F1-7D95C6121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70" y="505470"/>
            <a:ext cx="8709660" cy="110463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4400" dirty="0">
                <a:ea typeface="+mj-ea"/>
                <a:cs typeface="+mj-cs"/>
              </a:rPr>
              <a:t>What you’ll get out of thi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5711A0E-A428-4ED1-96CB-33D69FD8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4061" y="1703169"/>
            <a:ext cx="8491877" cy="67236"/>
          </a:xfrm>
          <a:prstGeom prst="rect">
            <a:avLst/>
          </a:prstGeom>
          <a:solidFill>
            <a:schemeClr val="tx1">
              <a:lumMod val="50000"/>
              <a:lumOff val="50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 Std Book"/>
            </a:endParaRP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0641A077-9B39-49F2-A067-89BF0AE9CB2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0688135"/>
              </p:ext>
            </p:extLst>
          </p:nvPr>
        </p:nvGraphicFramePr>
        <p:xfrm>
          <a:off x="834061" y="1987825"/>
          <a:ext cx="8491877" cy="3014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1586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BF5888-3B10-4ECA-83EB-2B5B66A1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ychological Safety 10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157738-9D6F-4B30-8392-8E16D809F921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7835161" y="2257744"/>
            <a:ext cx="914400" cy="9144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D8B93F-48CF-42A7-AC3E-BCEE3FFE13AB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6961422" y="970819"/>
            <a:ext cx="914400" cy="914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D2ABC0B-4E6E-4918-891E-A98508B372F7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6087684" y="2257744"/>
            <a:ext cx="914400" cy="914400"/>
          </a:xfrm>
          <a:prstGeom prst="rect">
            <a:avLst/>
          </a:prstGeom>
        </p:spPr>
      </p:pic>
      <p:sp>
        <p:nvSpPr>
          <p:cNvPr id="22" name="Text Box 4">
            <a:extLst>
              <a:ext uri="{FF2B5EF4-FFF2-40B4-BE49-F238E27FC236}">
                <a16:creationId xmlns:a16="http://schemas.microsoft.com/office/drawing/2014/main" id="{244E5DDE-B5CE-49DA-BCAF-9C7B7A9FA0C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71830" y="3667843"/>
            <a:ext cx="2684834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Psychological Safety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3B754106-1640-4626-8927-6F045BB89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3839" y="1047404"/>
            <a:ext cx="4752260" cy="3972068"/>
          </a:xfrm>
        </p:spPr>
        <p:txBody>
          <a:bodyPr>
            <a:normAutofit/>
          </a:bodyPr>
          <a:lstStyle/>
          <a:p>
            <a:endParaRPr lang="en-US" sz="3200" b="1" dirty="0">
              <a:solidFill>
                <a:srgbClr val="F8A560"/>
              </a:solidFill>
            </a:endParaRPr>
          </a:p>
          <a:p>
            <a:r>
              <a:rPr lang="en-US" sz="3200" b="1" dirty="0">
                <a:solidFill>
                  <a:srgbClr val="F8A560"/>
                </a:solidFill>
              </a:rPr>
              <a:t>Ask for feedback and measure safety</a:t>
            </a:r>
          </a:p>
          <a:p>
            <a:endParaRPr lang="en-US" sz="2800" dirty="0"/>
          </a:p>
          <a:p>
            <a:r>
              <a:rPr lang="en-US" sz="2800" i="1" dirty="0"/>
              <a:t>Ask individuals right away and use simple surveys</a:t>
            </a:r>
          </a:p>
        </p:txBody>
      </p:sp>
    </p:spTree>
    <p:extLst>
      <p:ext uri="{BB962C8B-B14F-4D97-AF65-F5344CB8AC3E}">
        <p14:creationId xmlns:p14="http://schemas.microsoft.com/office/powerpoint/2010/main" val="186699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4F3CD10-8577-46AA-A2A2-7B7120743B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Draft release of Cybersecurity Capability Maturity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Webinar on Comprehensive Security Review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CDSE Job Aid on Adverse Repor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CDSE Course Materials on Reporting Require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DNI SEAD 3 Frequently Asked Ques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DFARS CUI/NIST 800-171 Implementation Brief</a:t>
            </a:r>
            <a:endParaRPr lang="en-US" dirty="0"/>
          </a:p>
          <a:p>
            <a:endParaRPr lang="en-US" dirty="0"/>
          </a:p>
          <a:p>
            <a:r>
              <a:rPr lang="en-US" dirty="0"/>
              <a:t>-or-</a:t>
            </a:r>
          </a:p>
          <a:p>
            <a:endParaRPr lang="en-US" dirty="0"/>
          </a:p>
          <a:p>
            <a:r>
              <a:rPr lang="en-US" dirty="0">
                <a:hlinkClick r:id="rId2"/>
              </a:rPr>
              <a:t>https://www.threatswitch.com/reporting-requirements-resources</a:t>
            </a:r>
            <a:endParaRPr lang="en-US" dirty="0"/>
          </a:p>
          <a:p>
            <a:r>
              <a:rPr lang="en-US" b="1" i="1" dirty="0"/>
              <a:t> </a:t>
            </a:r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1BA8C6-E73D-4B8A-99D1-D3FA1C4C7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 for Download</a:t>
            </a:r>
          </a:p>
        </p:txBody>
      </p:sp>
    </p:spTree>
    <p:extLst>
      <p:ext uri="{BB962C8B-B14F-4D97-AF65-F5344CB8AC3E}">
        <p14:creationId xmlns:p14="http://schemas.microsoft.com/office/powerpoint/2010/main" val="424326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atSwitch Team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817627" y="3155478"/>
            <a:ext cx="3606461" cy="1678330"/>
          </a:xfrm>
        </p:spPr>
        <p:txBody>
          <a:bodyPr>
            <a:normAutofit/>
          </a:bodyPr>
          <a:lstStyle/>
          <a:p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aitlin </a:t>
            </a:r>
            <a:r>
              <a:rPr lang="en-US" sz="1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adule</a:t>
            </a:r>
            <a:b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</a:br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hlinkClick r:id="rId3"/>
              </a:rPr>
              <a:t>kaitlin@threatswitch.com</a:t>
            </a:r>
            <a:endParaRPr lang="en-US" sz="18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4146757"/>
            <a:ext cx="10160000" cy="8083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utura Std Book"/>
                <a:cs typeface="Arial" panose="020B0604020202020204" pitchFamily="34" charset="0"/>
              </a:rPr>
              <a:t>ThreatSwitch’s software solution helps cleared federal contractors </a:t>
            </a:r>
            <a:br>
              <a:rPr lang="en-US" sz="18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utura Std Book"/>
                <a:cs typeface="Arial" panose="020B0604020202020204" pitchFamily="34" charset="0"/>
              </a:rPr>
            </a:br>
            <a:r>
              <a:rPr lang="en-US" sz="18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utura Std Book"/>
                <a:cs typeface="Arial" panose="020B0604020202020204" pitchFamily="34" charset="0"/>
              </a:rPr>
              <a:t>get and stay compliant with NISPOM and related security regulations.</a:t>
            </a:r>
            <a:br>
              <a:rPr lang="en-US" sz="1053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utura Std Book"/>
                <a:cs typeface="Arial" panose="020B0604020202020204" pitchFamily="34" charset="0"/>
              </a:rPr>
            </a:br>
            <a:endParaRPr lang="en-US" sz="1053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Futura Std Book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DDAA0EA-2B27-466C-98BF-C1876BE6B2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3763" y="1058009"/>
            <a:ext cx="1994795" cy="1994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316010CC-157C-4864-A9A0-37DFF9A31A61}"/>
              </a:ext>
            </a:extLst>
          </p:cNvPr>
          <p:cNvSpPr txBox="1">
            <a:spLocks/>
          </p:cNvSpPr>
          <p:nvPr/>
        </p:nvSpPr>
        <p:spPr>
          <a:xfrm>
            <a:off x="271163" y="3155478"/>
            <a:ext cx="3606461" cy="1678330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2100" kern="1200">
                <a:solidFill>
                  <a:schemeClr val="tx1"/>
                </a:solidFill>
                <a:latin typeface="+mj-lt"/>
                <a:ea typeface="Arial" charset="0"/>
                <a:cs typeface="Arial" charset="0"/>
              </a:defRPr>
            </a:lvl1pPr>
            <a:lvl2pPr marL="573088" indent="-23018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Arial" charset="0"/>
                <a:cs typeface="Arial" charset="0"/>
              </a:defRPr>
            </a:lvl2pPr>
            <a:lvl3pPr marL="798513" indent="-2254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j-lt"/>
                <a:ea typeface="Arial" charset="0"/>
                <a:cs typeface="Arial" charset="0"/>
              </a:defRPr>
            </a:lvl3pPr>
            <a:lvl4pPr marL="1030288" indent="-23177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j-lt"/>
                <a:ea typeface="Arial" charset="0"/>
                <a:cs typeface="Arial" charset="0"/>
              </a:defRPr>
            </a:lvl4pPr>
            <a:lvl5pPr marL="1316037" indent="-2857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j-lt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utura Std Book"/>
              </a:rPr>
              <a:t>Brian Page</a:t>
            </a:r>
            <a:b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utura Std Book"/>
              </a:rPr>
            </a:br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utura Std Book"/>
                <a:hlinkClick r:id="rId5"/>
              </a:rPr>
              <a:t>brian@threatswitch.com</a:t>
            </a:r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utura Std Book"/>
              </a:rPr>
              <a:t> 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3527577" y="3164446"/>
            <a:ext cx="3606461" cy="16783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2100" kern="1200">
                <a:solidFill>
                  <a:schemeClr val="tx1"/>
                </a:solidFill>
                <a:latin typeface="Futura Std Book"/>
                <a:ea typeface="Arial" charset="0"/>
                <a:cs typeface="Arial" charset="0"/>
              </a:defRPr>
            </a:lvl1pPr>
            <a:lvl2pPr marL="573088" indent="-23018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utura Std Book"/>
                <a:ea typeface="Arial" charset="0"/>
                <a:cs typeface="Arial" charset="0"/>
              </a:defRPr>
            </a:lvl2pPr>
            <a:lvl3pPr marL="798513" indent="-2254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Futura Std Book"/>
                <a:ea typeface="Arial" charset="0"/>
                <a:cs typeface="Arial" charset="0"/>
              </a:defRPr>
            </a:lvl3pPr>
            <a:lvl4pPr marL="1030288" indent="-23177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utura Std Book"/>
                <a:ea typeface="Arial" charset="0"/>
                <a:cs typeface="Arial" charset="0"/>
              </a:defRPr>
            </a:lvl4pPr>
            <a:lvl5pPr marL="1316037" indent="-2857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utura Std Book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Jeff Zelaya</a:t>
            </a:r>
            <a:b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</a:br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hlinkClick r:id="rId6"/>
              </a:rPr>
              <a:t>jeff@threatswitch.com</a:t>
            </a:r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</a:t>
            </a:r>
          </a:p>
        </p:txBody>
      </p:sp>
      <p:pic>
        <p:nvPicPr>
          <p:cNvPr id="7" name="Picture 6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BA8D96B8-F0F4-4FB2-A50A-3D02E7E966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18533" y="1058009"/>
            <a:ext cx="1993392" cy="19933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E6B609C-EED6-E34F-B8A4-046D5D92949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3284" t="26662" r="29834" b="2965"/>
          <a:stretch/>
        </p:blipFill>
        <p:spPr>
          <a:xfrm>
            <a:off x="3609472" y="1058009"/>
            <a:ext cx="1993392" cy="1994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70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4">
            <a:extLst>
              <a:ext uri="{FF2B5EF4-FFF2-40B4-BE49-F238E27FC236}">
                <a16:creationId xmlns:a16="http://schemas.microsoft.com/office/drawing/2014/main" id="{C1B63052-572E-47C3-8B67-890098A6147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2140" y="3744410"/>
            <a:ext cx="2450216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1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Understand Changes</a:t>
            </a:r>
          </a:p>
        </p:txBody>
      </p:sp>
      <p:sp>
        <p:nvSpPr>
          <p:cNvPr id="7" name="Text Box 4">
            <a:extLst>
              <a:ext uri="{FF2B5EF4-FFF2-40B4-BE49-F238E27FC236}">
                <a16:creationId xmlns:a16="http://schemas.microsoft.com/office/drawing/2014/main" id="{D6B9E640-D3C5-415B-BB23-A626B68BAA9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66231" y="3744410"/>
            <a:ext cx="2450216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1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Reporting Engine</a:t>
            </a:r>
          </a:p>
        </p:txBody>
      </p:sp>
      <p:sp>
        <p:nvSpPr>
          <p:cNvPr id="8" name="Text Box 4">
            <a:extLst>
              <a:ext uri="{FF2B5EF4-FFF2-40B4-BE49-F238E27FC236}">
                <a16:creationId xmlns:a16="http://schemas.microsoft.com/office/drawing/2014/main" id="{BC995008-A14F-49B3-B18F-43E337773B3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660322" y="3744410"/>
            <a:ext cx="2450216" cy="7429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9000" tIns="54864" rIns="189000" bIns="54000" anchor="ctr">
            <a:noAutofit/>
          </a:bodyPr>
          <a:lstStyle/>
          <a:p>
            <a:pPr algn="ctr"/>
            <a:r>
              <a:rPr lang="en-US" sz="2100" b="1" dirty="0">
                <a:solidFill>
                  <a:srgbClr val="FFFFFF"/>
                </a:solidFill>
                <a:latin typeface="Futura Std Book"/>
                <a:cs typeface="Arial" panose="020B0604020202020204" pitchFamily="34" charset="0"/>
              </a:rPr>
              <a:t>Turn and Face the Stran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006845-6101-423C-81E6-FCB0CD2106AC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6850265" y="1256832"/>
            <a:ext cx="2070330" cy="207033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36DF06C-D45C-47A4-B4E9-DA6B202B3070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3896840" y="1097498"/>
            <a:ext cx="2388998" cy="238899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C2E2DD5-C8D9-4B66-9F14-5AE1AB0C3742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1272016" y="1266766"/>
            <a:ext cx="2050465" cy="2050465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CF5121C-8B60-45A7-A8A7-48F78C45E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ng Thoughts</a:t>
            </a:r>
          </a:p>
        </p:txBody>
      </p:sp>
    </p:spTree>
    <p:extLst>
      <p:ext uri="{BB962C8B-B14F-4D97-AF65-F5344CB8AC3E}">
        <p14:creationId xmlns:p14="http://schemas.microsoft.com/office/powerpoint/2010/main" val="3243502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535363" y="4986743"/>
            <a:ext cx="3089275" cy="460375"/>
          </a:xfrm>
        </p:spPr>
        <p:txBody>
          <a:bodyPr>
            <a:noAutofit/>
          </a:bodyPr>
          <a:lstStyle/>
          <a:p>
            <a:pPr algn="ctr"/>
            <a:r>
              <a:rPr lang="en-US" sz="2000" dirty="0">
                <a:latin typeface="Futura Std Book"/>
              </a:rPr>
              <a:t>www.threatswitch.com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442" y="558054"/>
            <a:ext cx="3273115" cy="23455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74FE195-5989-45E5-87A0-3FCACFA76F18}"/>
              </a:ext>
            </a:extLst>
          </p:cNvPr>
          <p:cNvSpPr/>
          <p:nvPr/>
        </p:nvSpPr>
        <p:spPr>
          <a:xfrm>
            <a:off x="2540726" y="3349389"/>
            <a:ext cx="515982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latin typeface="Futura Std Book"/>
              </a:rPr>
              <a:t>We write about this stuff all the time. For more resources, visit our website </a:t>
            </a:r>
            <a:r>
              <a:rPr lang="en-US" sz="1800" dirty="0">
                <a:latin typeface="Futura Std Book"/>
                <a:hlinkClick r:id="rId4"/>
              </a:rPr>
              <a:t>www.threatswitch.com/resources</a:t>
            </a:r>
            <a:r>
              <a:rPr lang="en-US" sz="1800" dirty="0">
                <a:latin typeface="Futura Std Book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274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816887018"/>
              </p:ext>
            </p:extLst>
          </p:nvPr>
        </p:nvGraphicFramePr>
        <p:xfrm>
          <a:off x="308216" y="364031"/>
          <a:ext cx="9166198" cy="49869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9955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120798746"/>
              </p:ext>
            </p:extLst>
          </p:nvPr>
        </p:nvGraphicFramePr>
        <p:xfrm>
          <a:off x="308216" y="364031"/>
          <a:ext cx="9166198" cy="49869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2067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44DFAFB-4266-4B07-B690-0C3ACE54AFD5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805409" y="1350759"/>
            <a:ext cx="548640" cy="5486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6005" y="1123607"/>
            <a:ext cx="4942390" cy="4188624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F8A560"/>
                </a:solidFill>
              </a:rPr>
              <a:t>The </a:t>
            </a:r>
            <a:r>
              <a:rPr lang="en-US" sz="2400" b="1" dirty="0" err="1">
                <a:solidFill>
                  <a:srgbClr val="F8A560"/>
                </a:solidFill>
              </a:rPr>
              <a:t>Terribles</a:t>
            </a:r>
            <a:r>
              <a:rPr lang="en-US" sz="2400" b="1" dirty="0">
                <a:solidFill>
                  <a:srgbClr val="F8A560"/>
                </a:solidFill>
              </a:rPr>
              <a:t>.</a:t>
            </a:r>
            <a:r>
              <a:rPr lang="en-US" sz="2400" dirty="0"/>
              <a:t> Espionage, sabotage, terrorism, and subversive activities</a:t>
            </a:r>
            <a:br>
              <a:rPr lang="en-US" sz="2400" dirty="0"/>
            </a:br>
            <a:endParaRPr lang="en-US" sz="2400" dirty="0"/>
          </a:p>
          <a:p>
            <a:r>
              <a:rPr lang="en-US" sz="2400" b="1" dirty="0">
                <a:solidFill>
                  <a:srgbClr val="F8A560"/>
                </a:solidFill>
              </a:rPr>
              <a:t>Adverse.</a:t>
            </a:r>
            <a:r>
              <a:rPr lang="en-US" sz="2400" dirty="0"/>
              <a:t> Based on the adjudicative guidelines.</a:t>
            </a:r>
            <a:br>
              <a:rPr lang="en-US" sz="2400" dirty="0"/>
            </a:br>
            <a:endParaRPr lang="en-US" sz="2400" dirty="0"/>
          </a:p>
          <a:p>
            <a:r>
              <a:rPr lang="en-US" sz="2400" b="1" dirty="0">
                <a:solidFill>
                  <a:srgbClr val="F8A560"/>
                </a:solidFill>
              </a:rPr>
              <a:t>Suspicious Contacts.</a:t>
            </a:r>
            <a:r>
              <a:rPr lang="en-US" sz="2400" dirty="0"/>
              <a:t> Sketchy characters; not just foreign national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BCE6E3-9912-4AF3-BCFA-AC38DEE6B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, the obvious stuff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AE46A85-B33B-4AE9-AF5C-99C6012F310F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1792702" y="3658230"/>
            <a:ext cx="548637" cy="54863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036B7A-B3B8-4A8D-8950-FE1F92283558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1777464" y="2567943"/>
            <a:ext cx="579113" cy="57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88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4BCE6E3-9912-4AF3-BCFA-AC38DEE6B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hirtee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C58E8AD-98D5-4A96-A324-90D992F0515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A: Allegiance to the U.S.  </a:t>
            </a:r>
          </a:p>
          <a:p>
            <a:r>
              <a:rPr lang="en-US" sz="2400" dirty="0"/>
              <a:t>B: Foreign Influence  </a:t>
            </a:r>
          </a:p>
          <a:p>
            <a:r>
              <a:rPr lang="en-US" sz="2400" dirty="0"/>
              <a:t>C: Foreign Preference  </a:t>
            </a:r>
          </a:p>
          <a:p>
            <a:r>
              <a:rPr lang="en-US" sz="2400" dirty="0"/>
              <a:t>D: Sexual Behavior  </a:t>
            </a:r>
          </a:p>
          <a:p>
            <a:r>
              <a:rPr lang="en-US" sz="2400" dirty="0"/>
              <a:t>E: Personal Conduct  </a:t>
            </a:r>
          </a:p>
          <a:p>
            <a:r>
              <a:rPr lang="en-US" sz="2400" dirty="0"/>
              <a:t>F: Financial Considerations</a:t>
            </a:r>
          </a:p>
          <a:p>
            <a:r>
              <a:rPr lang="en-US" sz="2400" dirty="0"/>
              <a:t>G: Alcohol Consumption 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0A4C40-E013-4C81-A41F-20737A41C7F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H: Drug Involvement  </a:t>
            </a:r>
          </a:p>
          <a:p>
            <a:r>
              <a:rPr lang="en-US" sz="2400" dirty="0"/>
              <a:t>I: Psychological Conditions  </a:t>
            </a:r>
          </a:p>
          <a:p>
            <a:r>
              <a:rPr lang="en-US" sz="2400" dirty="0"/>
              <a:t>J: Criminal Conduct  </a:t>
            </a:r>
          </a:p>
          <a:p>
            <a:r>
              <a:rPr lang="en-US" sz="2400" dirty="0"/>
              <a:t>K: Protected Information  </a:t>
            </a:r>
          </a:p>
          <a:p>
            <a:r>
              <a:rPr lang="en-US" sz="2400" dirty="0"/>
              <a:t>L: Outside Activities  </a:t>
            </a:r>
          </a:p>
          <a:p>
            <a:r>
              <a:rPr lang="en-US" sz="2400" dirty="0"/>
              <a:t>M: Information Technology</a:t>
            </a:r>
          </a:p>
        </p:txBody>
      </p:sp>
    </p:spTree>
    <p:extLst>
      <p:ext uri="{BB962C8B-B14F-4D97-AF65-F5344CB8AC3E}">
        <p14:creationId xmlns:p14="http://schemas.microsoft.com/office/powerpoint/2010/main" val="3245213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/>
        </p:nvGraphicFramePr>
        <p:xfrm>
          <a:off x="308216" y="364031"/>
          <a:ext cx="9166198" cy="49869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5951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44DFAFB-4266-4B07-B690-0C3ACE54AFD5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805409" y="1393000"/>
            <a:ext cx="548640" cy="5486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6005" y="1123607"/>
            <a:ext cx="4942390" cy="4188624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F8A560"/>
                </a:solidFill>
              </a:rPr>
              <a:t>Insider threat (versions 1 &amp; 2).</a:t>
            </a:r>
            <a:r>
              <a:rPr lang="en-US" sz="2400" dirty="0"/>
              <a:t> </a:t>
            </a:r>
            <a:r>
              <a:rPr lang="en-US" sz="2400" u="sng" dirty="0"/>
              <a:t>Your company</a:t>
            </a:r>
            <a:r>
              <a:rPr lang="en-US" sz="2400" dirty="0"/>
              <a:t> is responsible, not your customer.</a:t>
            </a:r>
            <a:br>
              <a:rPr lang="en-US" sz="2400" dirty="0"/>
            </a:br>
            <a:endParaRPr lang="en-US" sz="2400" dirty="0"/>
          </a:p>
          <a:p>
            <a:r>
              <a:rPr lang="en-US" sz="2400" b="1" dirty="0">
                <a:solidFill>
                  <a:srgbClr val="F8A560"/>
                </a:solidFill>
              </a:rPr>
              <a:t>SEAD 3. </a:t>
            </a:r>
            <a:r>
              <a:rPr lang="en-US" sz="2400" dirty="0"/>
              <a:t>Massive increase in requirements, especially foreign travel and contacts.</a:t>
            </a:r>
            <a:br>
              <a:rPr lang="en-US" sz="2400" dirty="0"/>
            </a:br>
            <a:endParaRPr lang="en-US" sz="2400" dirty="0"/>
          </a:p>
          <a:p>
            <a:r>
              <a:rPr lang="en-US" sz="2400" b="1" dirty="0">
                <a:solidFill>
                  <a:srgbClr val="F8A560"/>
                </a:solidFill>
              </a:rPr>
              <a:t>CUI/NIST/DFARS. </a:t>
            </a:r>
            <a:r>
              <a:rPr lang="en-US" sz="2400" dirty="0"/>
              <a:t>What do you have and how do you protect it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BCE6E3-9912-4AF3-BCFA-AC38DEE6B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New” isn’t new anymore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AE46A85-B33B-4AE9-AF5C-99C6012F310F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1792702" y="4262505"/>
            <a:ext cx="548637" cy="54863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036B7A-B3B8-4A8D-8950-FE1F92283558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1777464" y="2705104"/>
            <a:ext cx="579113" cy="57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51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4Ry9LHg06B_QCsJHbNCw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F5F8F9"/>
      </a:dk1>
      <a:lt1>
        <a:srgbClr val="2C2E29"/>
      </a:lt1>
      <a:dk2>
        <a:srgbClr val="F2F2F2"/>
      </a:dk2>
      <a:lt2>
        <a:srgbClr val="2C2E29"/>
      </a:lt2>
      <a:accent1>
        <a:srgbClr val="45A5AE"/>
      </a:accent1>
      <a:accent2>
        <a:srgbClr val="CFC4B2"/>
      </a:accent2>
      <a:accent3>
        <a:srgbClr val="F84032"/>
      </a:accent3>
      <a:accent4>
        <a:srgbClr val="D9D9D9"/>
      </a:accent4>
      <a:accent5>
        <a:srgbClr val="7D9BA9"/>
      </a:accent5>
      <a:accent6>
        <a:srgbClr val="F8A560"/>
      </a:accent6>
      <a:hlink>
        <a:srgbClr val="FFC000"/>
      </a:hlink>
      <a:folHlink>
        <a:srgbClr val="2C67B1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 Scala" id="{44856093-4BCF-A643-BCC1-2724E75C0B92}" vid="{E26A19DC-EBF9-CE40-99CF-AACC508E042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2</TotalTime>
  <Words>1768</Words>
  <Application>Microsoft Office PowerPoint</Application>
  <PresentationFormat>Custom</PresentationFormat>
  <Paragraphs>289</Paragraphs>
  <Slides>34</Slides>
  <Notes>2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9" baseType="lpstr">
      <vt:lpstr>Arial</vt:lpstr>
      <vt:lpstr>Calibri</vt:lpstr>
      <vt:lpstr>Calibri Light</vt:lpstr>
      <vt:lpstr>Futura Std Book</vt:lpstr>
      <vt:lpstr>Office Theme</vt:lpstr>
      <vt:lpstr>Ch-ch-ch-ch-Changes  to Reporting Requirements</vt:lpstr>
      <vt:lpstr>About John</vt:lpstr>
      <vt:lpstr>What you’ll get out of this</vt:lpstr>
      <vt:lpstr>PowerPoint Presentation</vt:lpstr>
      <vt:lpstr>PowerPoint Presentation</vt:lpstr>
      <vt:lpstr>First, the obvious stuff.</vt:lpstr>
      <vt:lpstr>The Thirteen</vt:lpstr>
      <vt:lpstr>PowerPoint Presentation</vt:lpstr>
      <vt:lpstr>“New” isn’t new anymore.</vt:lpstr>
      <vt:lpstr>Insider Threat (versions 1 &amp; 2)</vt:lpstr>
      <vt:lpstr>SEAD 3 (Underway)</vt:lpstr>
      <vt:lpstr>CUI / NIST 800-171 / DFARS</vt:lpstr>
      <vt:lpstr>PowerPoint Presentation</vt:lpstr>
      <vt:lpstr>New Reporting Requirements</vt:lpstr>
      <vt:lpstr>CMMC Cybersecurity Maturity Model Certification</vt:lpstr>
      <vt:lpstr>Risk-based Industrial Security Oversight </vt:lpstr>
      <vt:lpstr>The SEAD 3 ISL Is Coming</vt:lpstr>
      <vt:lpstr>Bonus Requirement: The 4th Pillar</vt:lpstr>
      <vt:lpstr>Turn and face the strange</vt:lpstr>
      <vt:lpstr>Building a reporting engine</vt:lpstr>
      <vt:lpstr>First, Eliminate Friction</vt:lpstr>
      <vt:lpstr>Unfettering 101: People</vt:lpstr>
      <vt:lpstr>Unfettering 101: Process</vt:lpstr>
      <vt:lpstr>Unfettering 101: Technology</vt:lpstr>
      <vt:lpstr>Second, Make it Safe</vt:lpstr>
      <vt:lpstr>Psychological Safety 101</vt:lpstr>
      <vt:lpstr>Psychological Safety 101</vt:lpstr>
      <vt:lpstr>Psychological Safety 101</vt:lpstr>
      <vt:lpstr>Psychological Safety 101</vt:lpstr>
      <vt:lpstr>Psychological Safety 101</vt:lpstr>
      <vt:lpstr>Resources for Download</vt:lpstr>
      <vt:lpstr>ThreatSwitch Team</vt:lpstr>
      <vt:lpstr>Parting Thoughts</vt:lpstr>
      <vt:lpstr>www.threatswitch.co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-ch-ch-ch-Changes  to Reporting Requirements</dc:title>
  <dc:creator>John Dillard</dc:creator>
  <cp:lastModifiedBy>Gerri Leviston</cp:lastModifiedBy>
  <cp:revision>39</cp:revision>
  <dcterms:created xsi:type="dcterms:W3CDTF">2019-06-06T22:46:26Z</dcterms:created>
  <dcterms:modified xsi:type="dcterms:W3CDTF">2019-11-20T14:50:01Z</dcterms:modified>
</cp:coreProperties>
</file>